
<file path=[Content_Types].xml><?xml version="1.0" encoding="utf-8"?>
<Types xmlns="http://schemas.openxmlformats.org/package/2006/content-types">
  <Default Extension="bin" ContentType="image/jpeg"/>
  <Default Extension="emf" ContentType="image/x-emf"/>
  <Default Extension="jfif"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notesSlides/notesSlide1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6.xml" ContentType="application/vnd.openxmlformats-officedocument.presentationml.tags+xml"/>
  <Override PartName="/ppt/tags/tag27.xml" ContentType="application/vnd.openxmlformats-officedocument.presentationml.tags+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8.xml" ContentType="application/vnd.openxmlformats-officedocument.presentationml.tags+xml"/>
  <Override PartName="/ppt/notesSlides/notesSlide1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9.xml" ContentType="application/vnd.openxmlformats-officedocument.presentationml.tags+xml"/>
  <Override PartName="/ppt/notesSlides/notesSlide15.xml" ContentType="application/vnd.openxmlformats-officedocument.presentationml.notesSlide+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7.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8.xml" ContentType="application/vnd.openxmlformats-officedocument.presentationml.notesSlide+xml"/>
  <Override PartName="/ppt/tags/tag35.xml" ContentType="application/vnd.openxmlformats-officedocument.presentationml.tags+xml"/>
  <Override PartName="/ppt/notesSlides/notesSlide19.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2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38.xml" ContentType="application/vnd.openxmlformats-officedocument.presentationml.tags+xml"/>
  <Override PartName="/ppt/tags/tag39.xml" ContentType="application/vnd.openxmlformats-officedocument.presentationml.tags+xml"/>
  <Override PartName="/ppt/notesSlides/notesSlide2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40.xml" ContentType="application/vnd.openxmlformats-officedocument.presentationml.tags+xml"/>
  <Override PartName="/ppt/tags/tag41.xml" ContentType="application/vnd.openxmlformats-officedocument.presentationml.tags+xml"/>
  <Override PartName="/ppt/notesSlides/notesSlide2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3.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24.xml" ContentType="application/vnd.openxmlformats-officedocument.presentationml.notesSlide+xml"/>
  <Override PartName="/ppt/tags/tag46.xml" ContentType="application/vnd.openxmlformats-officedocument.presentationml.tags+xml"/>
  <Override PartName="/ppt/notesSlides/notesSlide2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47.xml" ContentType="application/vnd.openxmlformats-officedocument.presentationml.tags+xml"/>
  <Override PartName="/ppt/tags/tag48.xml" ContentType="application/vnd.openxmlformats-officedocument.presentationml.tags+xml"/>
  <Override PartName="/ppt/notesSlides/notesSlide2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49.xml" ContentType="application/vnd.openxmlformats-officedocument.presentationml.tags+xml"/>
  <Override PartName="/ppt/notesSlides/notesSlide27.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50.xml" ContentType="application/vnd.openxmlformats-officedocument.presentationml.tags+xml"/>
  <Override PartName="/ppt/notesSlides/notesSlide28.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51.xml" ContentType="application/vnd.openxmlformats-officedocument.presentationml.tags+xml"/>
  <Override PartName="/ppt/tags/tag52.xml" ContentType="application/vnd.openxmlformats-officedocument.presentationml.tags+xml"/>
  <Override PartName="/ppt/notesSlides/notesSlide29.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58.xml" ContentType="application/vnd.openxmlformats-officedocument.presentationml.tags+xml"/>
  <Override PartName="/ppt/notesSlides/notesSlide34.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59.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39.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7" r:id="rId15"/>
    <p:sldMasterId id="2147483787" r:id="rId16"/>
    <p:sldMasterId id="2147483836" r:id="rId17"/>
    <p:sldMasterId id="2147483881" r:id="rId18"/>
  </p:sldMasterIdLst>
  <p:notesMasterIdLst>
    <p:notesMasterId r:id="rId66"/>
  </p:notesMasterIdLst>
  <p:handoutMasterIdLst>
    <p:handoutMasterId r:id="rId67"/>
  </p:handoutMasterIdLst>
  <p:sldIdLst>
    <p:sldId id="260" r:id="rId19"/>
    <p:sldId id="258" r:id="rId20"/>
    <p:sldId id="562" r:id="rId21"/>
    <p:sldId id="561" r:id="rId22"/>
    <p:sldId id="534" r:id="rId23"/>
    <p:sldId id="1685" r:id="rId24"/>
    <p:sldId id="613" r:id="rId25"/>
    <p:sldId id="616" r:id="rId26"/>
    <p:sldId id="1548" r:id="rId27"/>
    <p:sldId id="1544" r:id="rId28"/>
    <p:sldId id="1687" r:id="rId29"/>
    <p:sldId id="1688" r:id="rId30"/>
    <p:sldId id="1489" r:id="rId31"/>
    <p:sldId id="1470" r:id="rId32"/>
    <p:sldId id="1471" r:id="rId33"/>
    <p:sldId id="1483" r:id="rId34"/>
    <p:sldId id="1485" r:id="rId35"/>
    <p:sldId id="1484" r:id="rId36"/>
    <p:sldId id="531" r:id="rId37"/>
    <p:sldId id="560" r:id="rId38"/>
    <p:sldId id="564" r:id="rId39"/>
    <p:sldId id="565" r:id="rId40"/>
    <p:sldId id="1560" r:id="rId41"/>
    <p:sldId id="1527" r:id="rId42"/>
    <p:sldId id="1519" r:id="rId43"/>
    <p:sldId id="1532" r:id="rId44"/>
    <p:sldId id="567" r:id="rId45"/>
    <p:sldId id="1689" r:id="rId46"/>
    <p:sldId id="1690" r:id="rId47"/>
    <p:sldId id="1506" r:id="rId48"/>
    <p:sldId id="1505" r:id="rId49"/>
    <p:sldId id="1558" r:id="rId50"/>
    <p:sldId id="1491" r:id="rId51"/>
    <p:sldId id="1686" r:id="rId52"/>
    <p:sldId id="569" r:id="rId53"/>
    <p:sldId id="571" r:id="rId54"/>
    <p:sldId id="572" r:id="rId55"/>
    <p:sldId id="566" r:id="rId56"/>
    <p:sldId id="1545" r:id="rId57"/>
    <p:sldId id="1547" r:id="rId58"/>
    <p:sldId id="1556" r:id="rId59"/>
    <p:sldId id="1555" r:id="rId60"/>
    <p:sldId id="1546" r:id="rId61"/>
    <p:sldId id="575" r:id="rId62"/>
    <p:sldId id="576" r:id="rId63"/>
    <p:sldId id="577" r:id="rId64"/>
    <p:sldId id="259" r:id="rId65"/>
  </p:sldIdLst>
  <p:sldSz cx="12192000" cy="6858000"/>
  <p:notesSz cx="6858000" cy="9144000"/>
  <p:custDataLst>
    <p:tags r:id="rId6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Lesson 1: Processor Management" id="{25ADF4C8-2200-4410-9F45-B05F5BA6D4E6}">
          <p14:sldIdLst>
            <p14:sldId id="561"/>
            <p14:sldId id="534"/>
            <p14:sldId id="1685"/>
            <p14:sldId id="613"/>
            <p14:sldId id="616"/>
            <p14:sldId id="1548"/>
            <p14:sldId id="1544"/>
          </p14:sldIdLst>
        </p14:section>
        <p14:section name="Lesson 2: Non-Uniform Memory Access (NUMA)" id="{EE8B3BCF-E256-4FEF-A07F-45CB6B65D374}">
          <p14:sldIdLst>
            <p14:sldId id="1687"/>
            <p14:sldId id="1688"/>
            <p14:sldId id="1489"/>
            <p14:sldId id="1470"/>
            <p14:sldId id="1471"/>
            <p14:sldId id="1483"/>
            <p14:sldId id="1485"/>
            <p14:sldId id="1484"/>
            <p14:sldId id="531"/>
            <p14:sldId id="560"/>
          </p14:sldIdLst>
        </p14:section>
        <p14:section name="Lesson 3: SQL Server Memory Management" id="{6F639A05-2893-48A9-A600-6681E43668C4}">
          <p14:sldIdLst>
            <p14:sldId id="564"/>
            <p14:sldId id="565"/>
            <p14:sldId id="1560"/>
            <p14:sldId id="1527"/>
            <p14:sldId id="1519"/>
            <p14:sldId id="1532"/>
            <p14:sldId id="567"/>
          </p14:sldIdLst>
        </p14:section>
        <p14:section name="Lesson 4: Buffer Pool Management" id="{33339E1E-9937-48CD-8259-B7E253E8CBBD}">
          <p14:sldIdLst>
            <p14:sldId id="1689"/>
            <p14:sldId id="1690"/>
            <p14:sldId id="1506"/>
            <p14:sldId id="1505"/>
            <p14:sldId id="1558"/>
            <p14:sldId id="1491"/>
            <p14:sldId id="1686"/>
            <p14:sldId id="569"/>
          </p14:sldIdLst>
        </p14:section>
        <p14:section name="Lesson 5: Troubleshooting SQL Server Memory" id="{555EB127-B06E-428F-91FE-B308FD5309AF}">
          <p14:sldIdLst>
            <p14:sldId id="571"/>
            <p14:sldId id="572"/>
            <p14:sldId id="566"/>
            <p14:sldId id="1545"/>
            <p14:sldId id="1547"/>
            <p14:sldId id="1556"/>
            <p14:sldId id="1555"/>
            <p14:sldId id="1546"/>
            <p14:sldId id="575"/>
            <p14:sldId id="576"/>
            <p14:sldId id="577"/>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61C5"/>
    <a:srgbClr val="2A97AF"/>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AF351E1-0D00-4FDD-A06E-620FAEFCC65E}" v="31" dt="2024-01-29T19:42:34.8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9092" autoAdjust="0"/>
    <p:restoredTop sz="96409" autoAdjust="0"/>
  </p:normalViewPr>
  <p:slideViewPr>
    <p:cSldViewPr showGuides="1">
      <p:cViewPr varScale="1">
        <p:scale>
          <a:sx n="89" d="100"/>
          <a:sy n="89" d="100"/>
        </p:scale>
        <p:origin x="44" y="592"/>
      </p:cViewPr>
      <p:guideLst/>
    </p:cSldViewPr>
  </p:slideViewPr>
  <p:notesTextViewPr>
    <p:cViewPr>
      <p:scale>
        <a:sx n="1" d="1"/>
        <a:sy n="1" d="1"/>
      </p:scale>
      <p:origin x="0" y="0"/>
    </p:cViewPr>
  </p:notesTextViewPr>
  <p:sorterViewPr>
    <p:cViewPr>
      <p:scale>
        <a:sx n="140" d="100"/>
        <a:sy n="140" d="100"/>
      </p:scale>
      <p:origin x="0" y="-782"/>
    </p:cViewPr>
  </p:sorterViewPr>
  <p:notesViewPr>
    <p:cSldViewPr showGuides="1">
      <p:cViewPr varScale="1">
        <p:scale>
          <a:sx n="65" d="100"/>
          <a:sy n="65" d="100"/>
        </p:scale>
        <p:origin x="2102" y="6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Master" Target="slideMasters/slideMaster2.xml"/><Relationship Id="rId29" Type="http://schemas.openxmlformats.org/officeDocument/2006/relationships/slide" Target="slides/slide11.xml"/><Relationship Id="rId11" Type="http://schemas.openxmlformats.org/officeDocument/2006/relationships/customXml" Target="../customXml/item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notesMaster" Target="notesMasters/notesMaster1.xml"/><Relationship Id="rId74" Type="http://schemas.microsoft.com/office/2016/11/relationships/changesInfo" Target="changesInfos/changesInfo1.xml"/><Relationship Id="rId5" Type="http://schemas.openxmlformats.org/officeDocument/2006/relationships/customXml" Target="../customXml/item5.xml"/><Relationship Id="rId61" Type="http://schemas.openxmlformats.org/officeDocument/2006/relationships/slide" Target="slides/slide43.xml"/><Relationship Id="rId19" Type="http://schemas.openxmlformats.org/officeDocument/2006/relationships/slide" Target="slides/slide1.xml"/><Relationship Id="rId14" Type="http://schemas.openxmlformats.org/officeDocument/2006/relationships/customXml" Target="../customXml/item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commentAuthors" Target="commentAuthors.xml"/><Relationship Id="rId8" Type="http://schemas.openxmlformats.org/officeDocument/2006/relationships/customXml" Target="../customXml/item8.xml"/><Relationship Id="rId51" Type="http://schemas.openxmlformats.org/officeDocument/2006/relationships/slide" Target="slides/slide33.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3.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handoutMaster" Target="handoutMasters/handoutMaster1.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1.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customXml" Target="../customXml/item10.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slideMaster" Target="slideMasters/slideMaster4.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 Type="http://schemas.openxmlformats.org/officeDocument/2006/relationships/customXml" Target="../customXml/item7.xml"/><Relationship Id="rId7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B Taylor" userId="2ac94156-0040-455f-a13f-091fd330254d" providerId="ADAL" clId="{A9A5D0AB-A299-45C7-BCF3-987940F64229}"/>
    <pc:docChg chg="undo custSel modSld">
      <pc:chgData name="boB Taylor" userId="2ac94156-0040-455f-a13f-091fd330254d" providerId="ADAL" clId="{A9A5D0AB-A299-45C7-BCF3-987940F64229}" dt="2020-03-11T14:08:39.573" v="66" actId="6549"/>
      <pc:docMkLst>
        <pc:docMk/>
      </pc:docMkLst>
      <pc:sldChg chg="modNotesTx">
        <pc:chgData name="boB Taylor" userId="2ac94156-0040-455f-a13f-091fd330254d" providerId="ADAL" clId="{A9A5D0AB-A299-45C7-BCF3-987940F64229}" dt="2020-03-11T13:53:05.131" v="10" actId="20577"/>
        <pc:sldMkLst>
          <pc:docMk/>
          <pc:sldMk cId="2393123992" sldId="1470"/>
        </pc:sldMkLst>
      </pc:sldChg>
      <pc:sldChg chg="modNotesTx">
        <pc:chgData name="boB Taylor" userId="2ac94156-0040-455f-a13f-091fd330254d" providerId="ADAL" clId="{A9A5D0AB-A299-45C7-BCF3-987940F64229}" dt="2020-03-11T13:59:30.226" v="43" actId="20577"/>
        <pc:sldMkLst>
          <pc:docMk/>
          <pc:sldMk cId="3210956343" sldId="1477"/>
        </pc:sldMkLst>
      </pc:sldChg>
      <pc:sldChg chg="modNotesTx">
        <pc:chgData name="boB Taylor" userId="2ac94156-0040-455f-a13f-091fd330254d" providerId="ADAL" clId="{A9A5D0AB-A299-45C7-BCF3-987940F64229}" dt="2020-03-11T13:59:40.971" v="45" actId="20577"/>
        <pc:sldMkLst>
          <pc:docMk/>
          <pc:sldMk cId="2885101488" sldId="1478"/>
        </pc:sldMkLst>
      </pc:sldChg>
      <pc:sldChg chg="modNotesTx">
        <pc:chgData name="boB Taylor" userId="2ac94156-0040-455f-a13f-091fd330254d" providerId="ADAL" clId="{A9A5D0AB-A299-45C7-BCF3-987940F64229}" dt="2020-03-11T13:57:00.411" v="40" actId="20577"/>
        <pc:sldMkLst>
          <pc:docMk/>
          <pc:sldMk cId="1679095288" sldId="1479"/>
        </pc:sldMkLst>
      </pc:sldChg>
      <pc:sldChg chg="modNotesTx">
        <pc:chgData name="boB Taylor" userId="2ac94156-0040-455f-a13f-091fd330254d" providerId="ADAL" clId="{A9A5D0AB-A299-45C7-BCF3-987940F64229}" dt="2020-03-11T14:03:45.464" v="56" actId="20577"/>
        <pc:sldMkLst>
          <pc:docMk/>
          <pc:sldMk cId="198702297" sldId="1480"/>
        </pc:sldMkLst>
      </pc:sldChg>
      <pc:sldChg chg="modNotesTx">
        <pc:chgData name="boB Taylor" userId="2ac94156-0040-455f-a13f-091fd330254d" providerId="ADAL" clId="{A9A5D0AB-A299-45C7-BCF3-987940F64229}" dt="2020-03-11T14:07:03.123" v="65" actId="20577"/>
        <pc:sldMkLst>
          <pc:docMk/>
          <pc:sldMk cId="3428968616" sldId="1488"/>
        </pc:sldMkLst>
      </pc:sldChg>
      <pc:sldChg chg="modNotesTx">
        <pc:chgData name="boB Taylor" userId="2ac94156-0040-455f-a13f-091fd330254d" providerId="ADAL" clId="{A9A5D0AB-A299-45C7-BCF3-987940F64229}" dt="2020-03-11T14:06:21.379" v="63" actId="20577"/>
        <pc:sldMkLst>
          <pc:docMk/>
          <pc:sldMk cId="4174331227" sldId="1506"/>
        </pc:sldMkLst>
      </pc:sldChg>
      <pc:sldChg chg="modNotesTx">
        <pc:chgData name="boB Taylor" userId="2ac94156-0040-455f-a13f-091fd330254d" providerId="ADAL" clId="{A9A5D0AB-A299-45C7-BCF3-987940F64229}" dt="2020-03-11T14:08:39.573" v="66" actId="6549"/>
        <pc:sldMkLst>
          <pc:docMk/>
          <pc:sldMk cId="616180451" sldId="1517"/>
        </pc:sldMkLst>
      </pc:sldChg>
      <pc:sldChg chg="modNotesTx">
        <pc:chgData name="boB Taylor" userId="2ac94156-0040-455f-a13f-091fd330254d" providerId="ADAL" clId="{A9A5D0AB-A299-45C7-BCF3-987940F64229}" dt="2020-03-11T14:04:43.974" v="58" actId="20577"/>
        <pc:sldMkLst>
          <pc:docMk/>
          <pc:sldMk cId="917702128" sldId="1519"/>
        </pc:sldMkLst>
      </pc:sldChg>
    </pc:docChg>
  </pc:docChgLst>
  <pc:docChgLst>
    <pc:chgData name="Batuhan Yildiz" userId="90f344fc-4655-4923-aeaf-697bba59c1a7" providerId="ADAL" clId="{7CF34F49-7004-48F1-9F85-912033EC6CAE}"/>
    <pc:docChg chg="custSel modSld">
      <pc:chgData name="Batuhan Yildiz" userId="90f344fc-4655-4923-aeaf-697bba59c1a7" providerId="ADAL" clId="{7CF34F49-7004-48F1-9F85-912033EC6CAE}" dt="2020-04-10T08:28:15.289" v="62" actId="478"/>
      <pc:docMkLst>
        <pc:docMk/>
      </pc:docMkLst>
      <pc:sldChg chg="modNotesTx">
        <pc:chgData name="Batuhan Yildiz" userId="90f344fc-4655-4923-aeaf-697bba59c1a7" providerId="ADAL" clId="{7CF34F49-7004-48F1-9F85-912033EC6CAE}" dt="2020-04-06T15:38:00.874" v="45"/>
        <pc:sldMkLst>
          <pc:docMk/>
          <pc:sldMk cId="4267675391" sldId="531"/>
        </pc:sldMkLst>
      </pc:sldChg>
      <pc:sldChg chg="modNotesTx">
        <pc:chgData name="Batuhan Yildiz" userId="90f344fc-4655-4923-aeaf-697bba59c1a7" providerId="ADAL" clId="{7CF34F49-7004-48F1-9F85-912033EC6CAE}" dt="2020-04-06T15:38:52.864" v="49"/>
        <pc:sldMkLst>
          <pc:docMk/>
          <pc:sldMk cId="670385602" sldId="567"/>
        </pc:sldMkLst>
      </pc:sldChg>
      <pc:sldChg chg="modNotesTx">
        <pc:chgData name="Batuhan Yildiz" userId="90f344fc-4655-4923-aeaf-697bba59c1a7" providerId="ADAL" clId="{7CF34F49-7004-48F1-9F85-912033EC6CAE}" dt="2020-04-06T15:39:32.474" v="60" actId="20577"/>
        <pc:sldMkLst>
          <pc:docMk/>
          <pc:sldMk cId="3563492871" sldId="575"/>
        </pc:sldMkLst>
      </pc:sldChg>
      <pc:sldChg chg="delSp mod">
        <pc:chgData name="Batuhan Yildiz" userId="90f344fc-4655-4923-aeaf-697bba59c1a7" providerId="ADAL" clId="{7CF34F49-7004-48F1-9F85-912033EC6CAE}" dt="2020-04-10T08:27:47.833" v="61" actId="478"/>
        <pc:sldMkLst>
          <pc:docMk/>
          <pc:sldMk cId="3210956343" sldId="1477"/>
        </pc:sldMkLst>
        <pc:spChg chg="del">
          <ac:chgData name="Batuhan Yildiz" userId="90f344fc-4655-4923-aeaf-697bba59c1a7" providerId="ADAL" clId="{7CF34F49-7004-48F1-9F85-912033EC6CAE}" dt="2020-04-10T08:27:47.833" v="61" actId="478"/>
          <ac:spMkLst>
            <pc:docMk/>
            <pc:sldMk cId="3210956343" sldId="1477"/>
            <ac:spMk id="7" creationId="{00000000-0000-0000-0000-000000000000}"/>
          </ac:spMkLst>
        </pc:spChg>
      </pc:sldChg>
      <pc:sldChg chg="delSp mod">
        <pc:chgData name="Batuhan Yildiz" userId="90f344fc-4655-4923-aeaf-697bba59c1a7" providerId="ADAL" clId="{7CF34F49-7004-48F1-9F85-912033EC6CAE}" dt="2020-04-10T08:28:15.289" v="62" actId="478"/>
        <pc:sldMkLst>
          <pc:docMk/>
          <pc:sldMk cId="616180451" sldId="1517"/>
        </pc:sldMkLst>
        <pc:spChg chg="del">
          <ac:chgData name="Batuhan Yildiz" userId="90f344fc-4655-4923-aeaf-697bba59c1a7" providerId="ADAL" clId="{7CF34F49-7004-48F1-9F85-912033EC6CAE}" dt="2020-04-10T08:28:15.289" v="62" actId="478"/>
          <ac:spMkLst>
            <pc:docMk/>
            <pc:sldMk cId="616180451" sldId="1517"/>
            <ac:spMk id="5" creationId="{00000000-0000-0000-0000-000000000000}"/>
          </ac:spMkLst>
        </pc:spChg>
      </pc:sldChg>
    </pc:docChg>
  </pc:docChgLst>
  <pc:docChgLst>
    <pc:chgData name="Batuhan Yildiz" userId="90f344fc-4655-4923-aeaf-697bba59c1a7" providerId="ADAL" clId="{639795FD-CBE5-4A09-AF3B-B9D7C5B0CBA8}"/>
    <pc:docChg chg="undo redo custSel addSld delSld modSld modSection">
      <pc:chgData name="Batuhan Yildiz" userId="90f344fc-4655-4923-aeaf-697bba59c1a7" providerId="ADAL" clId="{639795FD-CBE5-4A09-AF3B-B9D7C5B0CBA8}" dt="2020-05-22T21:48:56.358" v="354" actId="700"/>
      <pc:docMkLst>
        <pc:docMk/>
      </pc:docMkLst>
      <pc:sldChg chg="modSp">
        <pc:chgData name="Batuhan Yildiz" userId="90f344fc-4655-4923-aeaf-697bba59c1a7" providerId="ADAL" clId="{639795FD-CBE5-4A09-AF3B-B9D7C5B0CBA8}" dt="2020-05-22T02:43:33.688" v="135" actId="14100"/>
        <pc:sldMkLst>
          <pc:docMk/>
          <pc:sldMk cId="3735096506" sldId="563"/>
        </pc:sldMkLst>
        <pc:graphicFrameChg chg="mod">
          <ac:chgData name="Batuhan Yildiz" userId="90f344fc-4655-4923-aeaf-697bba59c1a7" providerId="ADAL" clId="{639795FD-CBE5-4A09-AF3B-B9D7C5B0CBA8}" dt="2020-05-22T02:43:33.688" v="135" actId="14100"/>
          <ac:graphicFrameMkLst>
            <pc:docMk/>
            <pc:sldMk cId="3735096506" sldId="563"/>
            <ac:graphicFrameMk id="3" creationId="{9484E1FE-7534-495E-863C-657A46F5E628}"/>
          </ac:graphicFrameMkLst>
        </pc:graphicFrameChg>
      </pc:sldChg>
      <pc:sldChg chg="modSp modNotesTx">
        <pc:chgData name="Batuhan Yildiz" userId="90f344fc-4655-4923-aeaf-697bba59c1a7" providerId="ADAL" clId="{639795FD-CBE5-4A09-AF3B-B9D7C5B0CBA8}" dt="2020-05-22T03:06:54.550" v="291" actId="14100"/>
        <pc:sldMkLst>
          <pc:docMk/>
          <pc:sldMk cId="4206133277" sldId="577"/>
        </pc:sldMkLst>
        <pc:graphicFrameChg chg="mod">
          <ac:chgData name="Batuhan Yildiz" userId="90f344fc-4655-4923-aeaf-697bba59c1a7" providerId="ADAL" clId="{639795FD-CBE5-4A09-AF3B-B9D7C5B0CBA8}" dt="2020-05-22T03:06:54.550" v="291" actId="14100"/>
          <ac:graphicFrameMkLst>
            <pc:docMk/>
            <pc:sldMk cId="4206133277" sldId="577"/>
            <ac:graphicFrameMk id="3" creationId="{9484E1FE-7534-495E-863C-657A46F5E628}"/>
          </ac:graphicFrameMkLst>
        </pc:graphicFrameChg>
      </pc:sldChg>
      <pc:sldChg chg="modSp mod modClrScheme chgLayout">
        <pc:chgData name="Batuhan Yildiz" userId="90f344fc-4655-4923-aeaf-697bba59c1a7" providerId="ADAL" clId="{639795FD-CBE5-4A09-AF3B-B9D7C5B0CBA8}" dt="2020-05-22T02:40:19.304" v="121" actId="14100"/>
        <pc:sldMkLst>
          <pc:docMk/>
          <pc:sldMk cId="1663681182" sldId="1468"/>
        </pc:sldMkLst>
        <pc:spChg chg="mod ord">
          <ac:chgData name="Batuhan Yildiz" userId="90f344fc-4655-4923-aeaf-697bba59c1a7" providerId="ADAL" clId="{639795FD-CBE5-4A09-AF3B-B9D7C5B0CBA8}" dt="2020-05-22T02:40:19.304" v="121" actId="14100"/>
          <ac:spMkLst>
            <pc:docMk/>
            <pc:sldMk cId="1663681182" sldId="1468"/>
            <ac:spMk id="2" creationId="{00000000-0000-0000-0000-000000000000}"/>
          </ac:spMkLst>
        </pc:spChg>
        <pc:spChg chg="mod ord">
          <ac:chgData name="Batuhan Yildiz" userId="90f344fc-4655-4923-aeaf-697bba59c1a7" providerId="ADAL" clId="{639795FD-CBE5-4A09-AF3B-B9D7C5B0CBA8}" dt="2020-05-22T02:40:01.746" v="117" actId="700"/>
          <ac:spMkLst>
            <pc:docMk/>
            <pc:sldMk cId="1663681182" sldId="1468"/>
            <ac:spMk id="3" creationId="{00000000-0000-0000-0000-000000000000}"/>
          </ac:spMkLst>
        </pc:spChg>
        <pc:picChg chg="mod">
          <ac:chgData name="Batuhan Yildiz" userId="90f344fc-4655-4923-aeaf-697bba59c1a7" providerId="ADAL" clId="{639795FD-CBE5-4A09-AF3B-B9D7C5B0CBA8}" dt="2020-05-22T02:40:11.810" v="119" actId="1076"/>
          <ac:picMkLst>
            <pc:docMk/>
            <pc:sldMk cId="1663681182" sldId="1468"/>
            <ac:picMk id="4" creationId="{27D1C25E-6905-4D4C-97E2-3296873E8A23}"/>
          </ac:picMkLst>
        </pc:picChg>
        <pc:picChg chg="mod">
          <ac:chgData name="Batuhan Yildiz" userId="90f344fc-4655-4923-aeaf-697bba59c1a7" providerId="ADAL" clId="{639795FD-CBE5-4A09-AF3B-B9D7C5B0CBA8}" dt="2020-05-22T02:40:14.216" v="120" actId="1076"/>
          <ac:picMkLst>
            <pc:docMk/>
            <pc:sldMk cId="1663681182" sldId="1468"/>
            <ac:picMk id="5" creationId="{6B1795D9-5517-49AC-95FD-2A85065FA699}"/>
          </ac:picMkLst>
        </pc:picChg>
      </pc:sldChg>
      <pc:sldChg chg="addSp delSp modSp mod modClrScheme chgLayout">
        <pc:chgData name="Batuhan Yildiz" userId="90f344fc-4655-4923-aeaf-697bba59c1a7" providerId="ADAL" clId="{639795FD-CBE5-4A09-AF3B-B9D7C5B0CBA8}" dt="2020-05-22T02:41:33.813" v="125" actId="13782"/>
        <pc:sldMkLst>
          <pc:docMk/>
          <pc:sldMk cId="603308621" sldId="1471"/>
        </pc:sldMkLst>
        <pc:spChg chg="add del mod ord">
          <ac:chgData name="Batuhan Yildiz" userId="90f344fc-4655-4923-aeaf-697bba59c1a7" providerId="ADAL" clId="{639795FD-CBE5-4A09-AF3B-B9D7C5B0CBA8}" dt="2020-05-22T02:41:19.362" v="123" actId="478"/>
          <ac:spMkLst>
            <pc:docMk/>
            <pc:sldMk cId="603308621" sldId="1471"/>
            <ac:spMk id="2" creationId="{78D2CFCA-6B8D-41F8-BF31-5CE2C261B713}"/>
          </ac:spMkLst>
        </pc:spChg>
        <pc:spChg chg="mod ord">
          <ac:chgData name="Batuhan Yildiz" userId="90f344fc-4655-4923-aeaf-697bba59c1a7" providerId="ADAL" clId="{639795FD-CBE5-4A09-AF3B-B9D7C5B0CBA8}" dt="2020-05-22T02:41:13.107" v="122" actId="700"/>
          <ac:spMkLst>
            <pc:docMk/>
            <pc:sldMk cId="603308621" sldId="1471"/>
            <ac:spMk id="3" creationId="{00000000-0000-0000-0000-000000000000}"/>
          </ac:spMkLst>
        </pc:spChg>
        <pc:graphicFrameChg chg="mod">
          <ac:chgData name="Batuhan Yildiz" userId="90f344fc-4655-4923-aeaf-697bba59c1a7" providerId="ADAL" clId="{639795FD-CBE5-4A09-AF3B-B9D7C5B0CBA8}" dt="2020-05-22T02:41:33.813" v="125" actId="13782"/>
          <ac:graphicFrameMkLst>
            <pc:docMk/>
            <pc:sldMk cId="603308621" sldId="1471"/>
            <ac:graphicFrameMk id="4" creationId="{189033D4-A238-4C13-9474-186E15C93319}"/>
          </ac:graphicFrameMkLst>
        </pc:graphicFrameChg>
      </pc:sldChg>
      <pc:sldChg chg="addSp delSp modSp mod modClrScheme chgLayout">
        <pc:chgData name="Batuhan Yildiz" userId="90f344fc-4655-4923-aeaf-697bba59c1a7" providerId="ADAL" clId="{639795FD-CBE5-4A09-AF3B-B9D7C5B0CBA8}" dt="2020-05-22T02:45:27.508" v="143" actId="14100"/>
        <pc:sldMkLst>
          <pc:docMk/>
          <pc:sldMk cId="3210956343" sldId="1477"/>
        </pc:sldMkLst>
        <pc:spChg chg="add del mod ord">
          <ac:chgData name="Batuhan Yildiz" userId="90f344fc-4655-4923-aeaf-697bba59c1a7" providerId="ADAL" clId="{639795FD-CBE5-4A09-AF3B-B9D7C5B0CBA8}" dt="2020-05-22T02:44:28.250" v="138" actId="22"/>
          <ac:spMkLst>
            <pc:docMk/>
            <pc:sldMk cId="3210956343" sldId="1477"/>
            <ac:spMk id="2" creationId="{1991F13A-6543-4061-8915-EC0F8530F70F}"/>
          </ac:spMkLst>
        </pc:spChg>
        <pc:spChg chg="mod ord">
          <ac:chgData name="Batuhan Yildiz" userId="90f344fc-4655-4923-aeaf-697bba59c1a7" providerId="ADAL" clId="{639795FD-CBE5-4A09-AF3B-B9D7C5B0CBA8}" dt="2020-05-22T02:44:12.278" v="136" actId="700"/>
          <ac:spMkLst>
            <pc:docMk/>
            <pc:sldMk cId="3210956343" sldId="1477"/>
            <ac:spMk id="3" creationId="{00000000-0000-0000-0000-000000000000}"/>
          </ac:spMkLst>
        </pc:spChg>
        <pc:graphicFrameChg chg="add mod">
          <ac:chgData name="Batuhan Yildiz" userId="90f344fc-4655-4923-aeaf-697bba59c1a7" providerId="ADAL" clId="{639795FD-CBE5-4A09-AF3B-B9D7C5B0CBA8}" dt="2020-05-22T02:45:27.508" v="143" actId="14100"/>
          <ac:graphicFrameMkLst>
            <pc:docMk/>
            <pc:sldMk cId="3210956343" sldId="1477"/>
            <ac:graphicFrameMk id="4" creationId="{9AFEBA36-90F9-4D6E-9A46-A193C2810155}"/>
          </ac:graphicFrameMkLst>
        </pc:graphicFrameChg>
        <pc:graphicFrameChg chg="del">
          <ac:chgData name="Batuhan Yildiz" userId="90f344fc-4655-4923-aeaf-697bba59c1a7" providerId="ADAL" clId="{639795FD-CBE5-4A09-AF3B-B9D7C5B0CBA8}" dt="2020-05-22T02:44:25.767" v="137" actId="21"/>
          <ac:graphicFrameMkLst>
            <pc:docMk/>
            <pc:sldMk cId="3210956343" sldId="1477"/>
            <ac:graphicFrameMk id="9" creationId="{00000000-0000-0000-0000-000000000000}"/>
          </ac:graphicFrameMkLst>
        </pc:graphicFrameChg>
      </pc:sldChg>
      <pc:sldChg chg="addSp delSp modSp mod modClrScheme chgLayout">
        <pc:chgData name="Batuhan Yildiz" userId="90f344fc-4655-4923-aeaf-697bba59c1a7" providerId="ADAL" clId="{639795FD-CBE5-4A09-AF3B-B9D7C5B0CBA8}" dt="2020-05-22T02:46:10.951" v="148" actId="255"/>
        <pc:sldMkLst>
          <pc:docMk/>
          <pc:sldMk cId="2885101488" sldId="1478"/>
        </pc:sldMkLst>
        <pc:spChg chg="add del mod ord">
          <ac:chgData name="Batuhan Yildiz" userId="90f344fc-4655-4923-aeaf-697bba59c1a7" providerId="ADAL" clId="{639795FD-CBE5-4A09-AF3B-B9D7C5B0CBA8}" dt="2020-05-22T02:45:45.698" v="145" actId="22"/>
          <ac:spMkLst>
            <pc:docMk/>
            <pc:sldMk cId="2885101488" sldId="1478"/>
            <ac:spMk id="2" creationId="{DDD165FD-4822-4E34-80C6-F5D90982CAE0}"/>
          </ac:spMkLst>
        </pc:spChg>
        <pc:spChg chg="mod ord">
          <ac:chgData name="Batuhan Yildiz" userId="90f344fc-4655-4923-aeaf-697bba59c1a7" providerId="ADAL" clId="{639795FD-CBE5-4A09-AF3B-B9D7C5B0CBA8}" dt="2020-05-22T02:44:12.278" v="136" actId="700"/>
          <ac:spMkLst>
            <pc:docMk/>
            <pc:sldMk cId="2885101488" sldId="1478"/>
            <ac:spMk id="3" creationId="{00000000-0000-0000-0000-000000000000}"/>
          </ac:spMkLst>
        </pc:spChg>
        <pc:graphicFrameChg chg="add mod">
          <ac:chgData name="Batuhan Yildiz" userId="90f344fc-4655-4923-aeaf-697bba59c1a7" providerId="ADAL" clId="{639795FD-CBE5-4A09-AF3B-B9D7C5B0CBA8}" dt="2020-05-22T02:46:10.951" v="148" actId="255"/>
          <ac:graphicFrameMkLst>
            <pc:docMk/>
            <pc:sldMk cId="2885101488" sldId="1478"/>
            <ac:graphicFrameMk id="4" creationId="{E3D6903C-765A-49B3-A50D-A1DE95FF73F2}"/>
          </ac:graphicFrameMkLst>
        </pc:graphicFrameChg>
        <pc:graphicFrameChg chg="del">
          <ac:chgData name="Batuhan Yildiz" userId="90f344fc-4655-4923-aeaf-697bba59c1a7" providerId="ADAL" clId="{639795FD-CBE5-4A09-AF3B-B9D7C5B0CBA8}" dt="2020-05-22T02:45:43.046" v="144" actId="21"/>
          <ac:graphicFrameMkLst>
            <pc:docMk/>
            <pc:sldMk cId="2885101488" sldId="1478"/>
            <ac:graphicFrameMk id="7" creationId="{00000000-0000-0000-0000-000000000000}"/>
          </ac:graphicFrameMkLst>
        </pc:graphicFrameChg>
      </pc:sldChg>
      <pc:sldChg chg="addSp delSp modSp mod modClrScheme chgLayout">
        <pc:chgData name="Batuhan Yildiz" userId="90f344fc-4655-4923-aeaf-697bba59c1a7" providerId="ADAL" clId="{639795FD-CBE5-4A09-AF3B-B9D7C5B0CBA8}" dt="2020-05-22T02:47:24.353" v="157" actId="255"/>
        <pc:sldMkLst>
          <pc:docMk/>
          <pc:sldMk cId="1679095288" sldId="1479"/>
        </pc:sldMkLst>
        <pc:spChg chg="add del mod ord">
          <ac:chgData name="Batuhan Yildiz" userId="90f344fc-4655-4923-aeaf-697bba59c1a7" providerId="ADAL" clId="{639795FD-CBE5-4A09-AF3B-B9D7C5B0CBA8}" dt="2020-05-22T02:46:47.201" v="150" actId="22"/>
          <ac:spMkLst>
            <pc:docMk/>
            <pc:sldMk cId="1679095288" sldId="1479"/>
            <ac:spMk id="2" creationId="{AFFF76AB-4DEB-4BCD-ADAE-D5CB4C364BA7}"/>
          </ac:spMkLst>
        </pc:spChg>
        <pc:spChg chg="mod ord">
          <ac:chgData name="Batuhan Yildiz" userId="90f344fc-4655-4923-aeaf-697bba59c1a7" providerId="ADAL" clId="{639795FD-CBE5-4A09-AF3B-B9D7C5B0CBA8}" dt="2020-05-22T02:44:12.278" v="136" actId="700"/>
          <ac:spMkLst>
            <pc:docMk/>
            <pc:sldMk cId="1679095288" sldId="1479"/>
            <ac:spMk id="3" creationId="{00000000-0000-0000-0000-000000000000}"/>
          </ac:spMkLst>
        </pc:spChg>
        <pc:graphicFrameChg chg="add mod">
          <ac:chgData name="Batuhan Yildiz" userId="90f344fc-4655-4923-aeaf-697bba59c1a7" providerId="ADAL" clId="{639795FD-CBE5-4A09-AF3B-B9D7C5B0CBA8}" dt="2020-05-22T02:47:24.353" v="157" actId="255"/>
          <ac:graphicFrameMkLst>
            <pc:docMk/>
            <pc:sldMk cId="1679095288" sldId="1479"/>
            <ac:graphicFrameMk id="4" creationId="{401F04D7-1C0D-477B-9A99-C9C322F0E79C}"/>
          </ac:graphicFrameMkLst>
        </pc:graphicFrameChg>
        <pc:graphicFrameChg chg="del">
          <ac:chgData name="Batuhan Yildiz" userId="90f344fc-4655-4923-aeaf-697bba59c1a7" providerId="ADAL" clId="{639795FD-CBE5-4A09-AF3B-B9D7C5B0CBA8}" dt="2020-05-22T02:46:44.947" v="149" actId="21"/>
          <ac:graphicFrameMkLst>
            <pc:docMk/>
            <pc:sldMk cId="1679095288" sldId="1479"/>
            <ac:graphicFrameMk id="5" creationId="{00000000-0000-0000-0000-000000000000}"/>
          </ac:graphicFrameMkLst>
        </pc:graphicFrameChg>
      </pc:sldChg>
      <pc:sldChg chg="addSp delSp modSp mod modClrScheme chgLayout">
        <pc:chgData name="Batuhan Yildiz" userId="90f344fc-4655-4923-aeaf-697bba59c1a7" providerId="ADAL" clId="{639795FD-CBE5-4A09-AF3B-B9D7C5B0CBA8}" dt="2020-05-22T02:48:27.761" v="165" actId="14100"/>
        <pc:sldMkLst>
          <pc:docMk/>
          <pc:sldMk cId="198702297" sldId="1480"/>
        </pc:sldMkLst>
        <pc:spChg chg="add del mod ord">
          <ac:chgData name="Batuhan Yildiz" userId="90f344fc-4655-4923-aeaf-697bba59c1a7" providerId="ADAL" clId="{639795FD-CBE5-4A09-AF3B-B9D7C5B0CBA8}" dt="2020-05-22T02:47:33.549" v="159" actId="22"/>
          <ac:spMkLst>
            <pc:docMk/>
            <pc:sldMk cId="198702297" sldId="1480"/>
            <ac:spMk id="2" creationId="{168403D3-3A57-495F-9C62-84783FE61845}"/>
          </ac:spMkLst>
        </pc:spChg>
        <pc:spChg chg="mod ord">
          <ac:chgData name="Batuhan Yildiz" userId="90f344fc-4655-4923-aeaf-697bba59c1a7" providerId="ADAL" clId="{639795FD-CBE5-4A09-AF3B-B9D7C5B0CBA8}" dt="2020-05-22T02:44:12.278" v="136" actId="700"/>
          <ac:spMkLst>
            <pc:docMk/>
            <pc:sldMk cId="198702297" sldId="1480"/>
            <ac:spMk id="3" creationId="{00000000-0000-0000-0000-000000000000}"/>
          </ac:spMkLst>
        </pc:spChg>
        <pc:graphicFrameChg chg="add mod">
          <ac:chgData name="Batuhan Yildiz" userId="90f344fc-4655-4923-aeaf-697bba59c1a7" providerId="ADAL" clId="{639795FD-CBE5-4A09-AF3B-B9D7C5B0CBA8}" dt="2020-05-22T02:48:27.761" v="165" actId="14100"/>
          <ac:graphicFrameMkLst>
            <pc:docMk/>
            <pc:sldMk cId="198702297" sldId="1480"/>
            <ac:graphicFrameMk id="4" creationId="{B131880C-F34D-480E-B7B2-D260568709C0}"/>
          </ac:graphicFrameMkLst>
        </pc:graphicFrameChg>
        <pc:graphicFrameChg chg="del">
          <ac:chgData name="Batuhan Yildiz" userId="90f344fc-4655-4923-aeaf-697bba59c1a7" providerId="ADAL" clId="{639795FD-CBE5-4A09-AF3B-B9D7C5B0CBA8}" dt="2020-05-22T02:47:31.719" v="158" actId="21"/>
          <ac:graphicFrameMkLst>
            <pc:docMk/>
            <pc:sldMk cId="198702297" sldId="1480"/>
            <ac:graphicFrameMk id="5" creationId="{00000000-0000-0000-0000-000000000000}"/>
          </ac:graphicFrameMkLst>
        </pc:graphicFrameChg>
      </pc:sldChg>
      <pc:sldChg chg="addSp delSp modSp mod modClrScheme chgLayout">
        <pc:chgData name="Batuhan Yildiz" userId="90f344fc-4655-4923-aeaf-697bba59c1a7" providerId="ADAL" clId="{639795FD-CBE5-4A09-AF3B-B9D7C5B0CBA8}" dt="2020-05-22T02:42:28.286" v="132" actId="478"/>
        <pc:sldMkLst>
          <pc:docMk/>
          <pc:sldMk cId="546599734" sldId="1483"/>
        </pc:sldMkLst>
        <pc:spChg chg="add del mod ord">
          <ac:chgData name="Batuhan Yildiz" userId="90f344fc-4655-4923-aeaf-697bba59c1a7" providerId="ADAL" clId="{639795FD-CBE5-4A09-AF3B-B9D7C5B0CBA8}" dt="2020-05-22T02:42:28.286" v="132" actId="478"/>
          <ac:spMkLst>
            <pc:docMk/>
            <pc:sldMk cId="546599734" sldId="1483"/>
            <ac:spMk id="2" creationId="{6EF68C00-D053-47AA-B6A8-54A7232A943A}"/>
          </ac:spMkLst>
        </pc:spChg>
        <pc:spChg chg="mod ord">
          <ac:chgData name="Batuhan Yildiz" userId="90f344fc-4655-4923-aeaf-697bba59c1a7" providerId="ADAL" clId="{639795FD-CBE5-4A09-AF3B-B9D7C5B0CBA8}" dt="2020-05-22T02:41:48.837" v="126" actId="700"/>
          <ac:spMkLst>
            <pc:docMk/>
            <pc:sldMk cId="546599734" sldId="1483"/>
            <ac:spMk id="3" creationId="{00000000-0000-0000-0000-000000000000}"/>
          </ac:spMkLst>
        </pc:spChg>
        <pc:graphicFrameChg chg="mod">
          <ac:chgData name="Batuhan Yildiz" userId="90f344fc-4655-4923-aeaf-697bba59c1a7" providerId="ADAL" clId="{639795FD-CBE5-4A09-AF3B-B9D7C5B0CBA8}" dt="2020-05-22T02:42:22.904" v="131" actId="14100"/>
          <ac:graphicFrameMkLst>
            <pc:docMk/>
            <pc:sldMk cId="546599734" sldId="1483"/>
            <ac:graphicFrameMk id="5" creationId="{2B8D15A4-A9CD-4E36-8BA2-3949D87EDA4A}"/>
          </ac:graphicFrameMkLst>
        </pc:graphicFrameChg>
      </pc:sldChg>
      <pc:sldChg chg="addSp delSp modSp mod modClrScheme chgLayout">
        <pc:chgData name="Batuhan Yildiz" userId="90f344fc-4655-4923-aeaf-697bba59c1a7" providerId="ADAL" clId="{639795FD-CBE5-4A09-AF3B-B9D7C5B0CBA8}" dt="2020-05-22T02:51:10.636" v="185" actId="12093"/>
        <pc:sldMkLst>
          <pc:docMk/>
          <pc:sldMk cId="3428968616" sldId="1488"/>
        </pc:sldMkLst>
        <pc:spChg chg="mod ord">
          <ac:chgData name="Batuhan Yildiz" userId="90f344fc-4655-4923-aeaf-697bba59c1a7" providerId="ADAL" clId="{639795FD-CBE5-4A09-AF3B-B9D7C5B0CBA8}" dt="2020-05-22T02:50:43.925" v="182" actId="700"/>
          <ac:spMkLst>
            <pc:docMk/>
            <pc:sldMk cId="3428968616" sldId="1488"/>
            <ac:spMk id="2" creationId="{00000000-0000-0000-0000-000000000000}"/>
          </ac:spMkLst>
        </pc:spChg>
        <pc:spChg chg="add del mod ord">
          <ac:chgData name="Batuhan Yildiz" userId="90f344fc-4655-4923-aeaf-697bba59c1a7" providerId="ADAL" clId="{639795FD-CBE5-4A09-AF3B-B9D7C5B0CBA8}" dt="2020-05-22T02:51:02.569" v="184" actId="22"/>
          <ac:spMkLst>
            <pc:docMk/>
            <pc:sldMk cId="3428968616" sldId="1488"/>
            <ac:spMk id="3" creationId="{886B57BD-1E55-493A-B4F2-93837766AF8B}"/>
          </ac:spMkLst>
        </pc:spChg>
        <pc:graphicFrameChg chg="add mod">
          <ac:chgData name="Batuhan Yildiz" userId="90f344fc-4655-4923-aeaf-697bba59c1a7" providerId="ADAL" clId="{639795FD-CBE5-4A09-AF3B-B9D7C5B0CBA8}" dt="2020-05-22T02:51:10.636" v="185" actId="12093"/>
          <ac:graphicFrameMkLst>
            <pc:docMk/>
            <pc:sldMk cId="3428968616" sldId="1488"/>
            <ac:graphicFrameMk id="4" creationId="{82B3A18D-9BB8-4632-AED3-92836B2A6ED2}"/>
          </ac:graphicFrameMkLst>
        </pc:graphicFrameChg>
        <pc:graphicFrameChg chg="del">
          <ac:chgData name="Batuhan Yildiz" userId="90f344fc-4655-4923-aeaf-697bba59c1a7" providerId="ADAL" clId="{639795FD-CBE5-4A09-AF3B-B9D7C5B0CBA8}" dt="2020-05-22T02:50:59.567" v="183" actId="21"/>
          <ac:graphicFrameMkLst>
            <pc:docMk/>
            <pc:sldMk cId="3428968616" sldId="1488"/>
            <ac:graphicFrameMk id="5" creationId="{4C2FB1C7-81E6-4675-82E8-0DC418719D8A}"/>
          </ac:graphicFrameMkLst>
        </pc:graphicFrameChg>
      </pc:sldChg>
      <pc:sldChg chg="addSp delSp modSp mod modClrScheme chgLayout">
        <pc:chgData name="Batuhan Yildiz" userId="90f344fc-4655-4923-aeaf-697bba59c1a7" providerId="ADAL" clId="{639795FD-CBE5-4A09-AF3B-B9D7C5B0CBA8}" dt="2020-05-22T02:58:52.813" v="228" actId="1076"/>
        <pc:sldMkLst>
          <pc:docMk/>
          <pc:sldMk cId="3449137331" sldId="1491"/>
        </pc:sldMkLst>
        <pc:spChg chg="add del mod ord">
          <ac:chgData name="Batuhan Yildiz" userId="90f344fc-4655-4923-aeaf-697bba59c1a7" providerId="ADAL" clId="{639795FD-CBE5-4A09-AF3B-B9D7C5B0CBA8}" dt="2020-05-22T02:58:17.673" v="222" actId="22"/>
          <ac:spMkLst>
            <pc:docMk/>
            <pc:sldMk cId="3449137331" sldId="1491"/>
            <ac:spMk id="2" creationId="{990C851B-6814-4373-A4B2-810A9429AD2F}"/>
          </ac:spMkLst>
        </pc:spChg>
        <pc:spChg chg="mod ord">
          <ac:chgData name="Batuhan Yildiz" userId="90f344fc-4655-4923-aeaf-697bba59c1a7" providerId="ADAL" clId="{639795FD-CBE5-4A09-AF3B-B9D7C5B0CBA8}" dt="2020-05-22T02:58:09.314" v="220" actId="700"/>
          <ac:spMkLst>
            <pc:docMk/>
            <pc:sldMk cId="3449137331" sldId="1491"/>
            <ac:spMk id="3" creationId="{00000000-0000-0000-0000-000000000000}"/>
          </ac:spMkLst>
        </pc:spChg>
        <pc:spChg chg="mod">
          <ac:chgData name="Batuhan Yildiz" userId="90f344fc-4655-4923-aeaf-697bba59c1a7" providerId="ADAL" clId="{639795FD-CBE5-4A09-AF3B-B9D7C5B0CBA8}" dt="2020-05-22T02:58:52.813" v="228" actId="1076"/>
          <ac:spMkLst>
            <pc:docMk/>
            <pc:sldMk cId="3449137331" sldId="1491"/>
            <ac:spMk id="6" creationId="{7B6DB045-2D3F-4629-B113-1BCF5A4A4B4E}"/>
          </ac:spMkLst>
        </pc:spChg>
        <pc:graphicFrameChg chg="add mod">
          <ac:chgData name="Batuhan Yildiz" userId="90f344fc-4655-4923-aeaf-697bba59c1a7" providerId="ADAL" clId="{639795FD-CBE5-4A09-AF3B-B9D7C5B0CBA8}" dt="2020-05-22T02:58:46.646" v="227" actId="14100"/>
          <ac:graphicFrameMkLst>
            <pc:docMk/>
            <pc:sldMk cId="3449137331" sldId="1491"/>
            <ac:graphicFrameMk id="4" creationId="{F1008666-2007-481E-B3C4-7DCA03FD9FA2}"/>
          </ac:graphicFrameMkLst>
        </pc:graphicFrameChg>
        <pc:graphicFrameChg chg="del">
          <ac:chgData name="Batuhan Yildiz" userId="90f344fc-4655-4923-aeaf-697bba59c1a7" providerId="ADAL" clId="{639795FD-CBE5-4A09-AF3B-B9D7C5B0CBA8}" dt="2020-05-22T02:58:15.845" v="221" actId="21"/>
          <ac:graphicFrameMkLst>
            <pc:docMk/>
            <pc:sldMk cId="3449137331" sldId="1491"/>
            <ac:graphicFrameMk id="10" creationId="{493C92E9-3A60-4AA4-91F9-9B5ECF55B3A6}"/>
          </ac:graphicFrameMkLst>
        </pc:graphicFrameChg>
      </pc:sldChg>
      <pc:sldChg chg="addSp delSp modSp mod modClrScheme chgLayout">
        <pc:chgData name="Batuhan Yildiz" userId="90f344fc-4655-4923-aeaf-697bba59c1a7" providerId="ADAL" clId="{639795FD-CBE5-4A09-AF3B-B9D7C5B0CBA8}" dt="2020-05-22T02:59:09.440" v="230" actId="1076"/>
        <pc:sldMkLst>
          <pc:docMk/>
          <pc:sldMk cId="459353773" sldId="1496"/>
        </pc:sldMkLst>
        <pc:spChg chg="mod ord">
          <ac:chgData name="Batuhan Yildiz" userId="90f344fc-4655-4923-aeaf-697bba59c1a7" providerId="ADAL" clId="{639795FD-CBE5-4A09-AF3B-B9D7C5B0CBA8}" dt="2020-05-22T02:58:09.314" v="220" actId="700"/>
          <ac:spMkLst>
            <pc:docMk/>
            <pc:sldMk cId="459353773" sldId="1496"/>
            <ac:spMk id="2" creationId="{00000000-0000-0000-0000-000000000000}"/>
          </ac:spMkLst>
        </pc:spChg>
        <pc:spChg chg="mod ord">
          <ac:chgData name="Batuhan Yildiz" userId="90f344fc-4655-4923-aeaf-697bba59c1a7" providerId="ADAL" clId="{639795FD-CBE5-4A09-AF3B-B9D7C5B0CBA8}" dt="2020-05-22T02:58:09.314" v="220" actId="700"/>
          <ac:spMkLst>
            <pc:docMk/>
            <pc:sldMk cId="459353773" sldId="1496"/>
            <ac:spMk id="3" creationId="{00000000-0000-0000-0000-000000000000}"/>
          </ac:spMkLst>
        </pc:spChg>
        <pc:spChg chg="add mod">
          <ac:chgData name="Batuhan Yildiz" userId="90f344fc-4655-4923-aeaf-697bba59c1a7" providerId="ADAL" clId="{639795FD-CBE5-4A09-AF3B-B9D7C5B0CBA8}" dt="2020-05-22T02:59:06.275" v="229" actId="1076"/>
          <ac:spMkLst>
            <pc:docMk/>
            <pc:sldMk cId="459353773" sldId="1496"/>
            <ac:spMk id="4" creationId="{E775FDF7-D367-4BB8-88DC-DCBDBDA5878A}"/>
          </ac:spMkLst>
        </pc:spChg>
        <pc:spChg chg="del">
          <ac:chgData name="Batuhan Yildiz" userId="90f344fc-4655-4923-aeaf-697bba59c1a7" providerId="ADAL" clId="{639795FD-CBE5-4A09-AF3B-B9D7C5B0CBA8}" dt="2020-05-20T21:18:59.884" v="0" actId="21"/>
          <ac:spMkLst>
            <pc:docMk/>
            <pc:sldMk cId="459353773" sldId="1496"/>
            <ac:spMk id="5" creationId="{9CB5C099-0302-4B10-A551-D41DCF2697DA}"/>
          </ac:spMkLst>
        </pc:spChg>
        <pc:spChg chg="add mod">
          <ac:chgData name="Batuhan Yildiz" userId="90f344fc-4655-4923-aeaf-697bba59c1a7" providerId="ADAL" clId="{639795FD-CBE5-4A09-AF3B-B9D7C5B0CBA8}" dt="2020-05-22T02:59:09.440" v="230" actId="1076"/>
          <ac:spMkLst>
            <pc:docMk/>
            <pc:sldMk cId="459353773" sldId="1496"/>
            <ac:spMk id="8" creationId="{0F3522AA-081E-4A50-8E13-81ADF70853DC}"/>
          </ac:spMkLst>
        </pc:spChg>
      </pc:sldChg>
      <pc:sldChg chg="addSp delSp modSp mod chgLayout">
        <pc:chgData name="Batuhan Yildiz" userId="90f344fc-4655-4923-aeaf-697bba59c1a7" providerId="ADAL" clId="{639795FD-CBE5-4A09-AF3B-B9D7C5B0CBA8}" dt="2020-05-22T02:59:51.787" v="234" actId="478"/>
        <pc:sldMkLst>
          <pc:docMk/>
          <pc:sldMk cId="3843003386" sldId="1497"/>
        </pc:sldMkLst>
        <pc:spChg chg="add del mod ord">
          <ac:chgData name="Batuhan Yildiz" userId="90f344fc-4655-4923-aeaf-697bba59c1a7" providerId="ADAL" clId="{639795FD-CBE5-4A09-AF3B-B9D7C5B0CBA8}" dt="2020-05-22T02:59:51.787" v="234" actId="478"/>
          <ac:spMkLst>
            <pc:docMk/>
            <pc:sldMk cId="3843003386" sldId="1497"/>
            <ac:spMk id="2" creationId="{C5E3974E-3655-4F89-A8A2-2C324170C91C}"/>
          </ac:spMkLst>
        </pc:spChg>
        <pc:spChg chg="mod ord">
          <ac:chgData name="Batuhan Yildiz" userId="90f344fc-4655-4923-aeaf-697bba59c1a7" providerId="ADAL" clId="{639795FD-CBE5-4A09-AF3B-B9D7C5B0CBA8}" dt="2020-05-22T02:58:09.314" v="220" actId="700"/>
          <ac:spMkLst>
            <pc:docMk/>
            <pc:sldMk cId="3843003386" sldId="1497"/>
            <ac:spMk id="3" creationId="{00000000-0000-0000-0000-000000000000}"/>
          </ac:spMkLst>
        </pc:spChg>
        <pc:graphicFrameChg chg="add del ord">
          <ac:chgData name="Batuhan Yildiz" userId="90f344fc-4655-4923-aeaf-697bba59c1a7" providerId="ADAL" clId="{639795FD-CBE5-4A09-AF3B-B9D7C5B0CBA8}" dt="2020-05-22T02:59:40.112" v="233" actId="167"/>
          <ac:graphicFrameMkLst>
            <pc:docMk/>
            <pc:sldMk cId="3843003386" sldId="1497"/>
            <ac:graphicFrameMk id="5" creationId="{EC0A61B9-62BD-4E10-A7FF-0652F22B28A7}"/>
          </ac:graphicFrameMkLst>
        </pc:graphicFrameChg>
      </pc:sldChg>
      <pc:sldChg chg="modSp">
        <pc:chgData name="Batuhan Yildiz" userId="90f344fc-4655-4923-aeaf-697bba59c1a7" providerId="ADAL" clId="{639795FD-CBE5-4A09-AF3B-B9D7C5B0CBA8}" dt="2020-05-22T02:49:06.999" v="171" actId="12100"/>
        <pc:sldMkLst>
          <pc:docMk/>
          <pc:sldMk cId="3352402564" sldId="1505"/>
        </pc:sldMkLst>
        <pc:graphicFrameChg chg="mod">
          <ac:chgData name="Batuhan Yildiz" userId="90f344fc-4655-4923-aeaf-697bba59c1a7" providerId="ADAL" clId="{639795FD-CBE5-4A09-AF3B-B9D7C5B0CBA8}" dt="2020-05-22T02:49:06.999" v="171" actId="12100"/>
          <ac:graphicFrameMkLst>
            <pc:docMk/>
            <pc:sldMk cId="3352402564" sldId="1505"/>
            <ac:graphicFrameMk id="8" creationId="{AC5A768D-974A-4D39-8DDF-DE915605D62D}"/>
          </ac:graphicFrameMkLst>
        </pc:graphicFrameChg>
      </pc:sldChg>
      <pc:sldChg chg="addSp delSp modSp mod modClrScheme chgLayout">
        <pc:chgData name="Batuhan Yildiz" userId="90f344fc-4655-4923-aeaf-697bba59c1a7" providerId="ADAL" clId="{639795FD-CBE5-4A09-AF3B-B9D7C5B0CBA8}" dt="2020-05-22T02:50:23.558" v="181" actId="1076"/>
        <pc:sldMkLst>
          <pc:docMk/>
          <pc:sldMk cId="4174331227" sldId="1506"/>
        </pc:sldMkLst>
        <pc:spChg chg="mod ord">
          <ac:chgData name="Batuhan Yildiz" userId="90f344fc-4655-4923-aeaf-697bba59c1a7" providerId="ADAL" clId="{639795FD-CBE5-4A09-AF3B-B9D7C5B0CBA8}" dt="2020-05-22T02:49:31.172" v="174" actId="700"/>
          <ac:spMkLst>
            <pc:docMk/>
            <pc:sldMk cId="4174331227" sldId="1506"/>
            <ac:spMk id="4" creationId="{00000000-0000-0000-0000-000000000000}"/>
          </ac:spMkLst>
        </pc:spChg>
        <pc:spChg chg="add del mod ord">
          <ac:chgData name="Batuhan Yildiz" userId="90f344fc-4655-4923-aeaf-697bba59c1a7" providerId="ADAL" clId="{639795FD-CBE5-4A09-AF3B-B9D7C5B0CBA8}" dt="2020-05-22T02:50:00.111" v="177" actId="22"/>
          <ac:spMkLst>
            <pc:docMk/>
            <pc:sldMk cId="4174331227" sldId="1506"/>
            <ac:spMk id="5" creationId="{E412294B-0454-4038-A526-445C3BDD694F}"/>
          </ac:spMkLst>
        </pc:spChg>
        <pc:spChg chg="mod">
          <ac:chgData name="Batuhan Yildiz" userId="90f344fc-4655-4923-aeaf-697bba59c1a7" providerId="ADAL" clId="{639795FD-CBE5-4A09-AF3B-B9D7C5B0CBA8}" dt="2020-05-22T02:50:23.558" v="181" actId="1076"/>
          <ac:spMkLst>
            <pc:docMk/>
            <pc:sldMk cId="4174331227" sldId="1506"/>
            <ac:spMk id="6" creationId="{755C910C-124C-412E-9FFE-A43C8B0C7589}"/>
          </ac:spMkLst>
        </pc:spChg>
        <pc:spChg chg="mod">
          <ac:chgData name="Batuhan Yildiz" userId="90f344fc-4655-4923-aeaf-697bba59c1a7" providerId="ADAL" clId="{639795FD-CBE5-4A09-AF3B-B9D7C5B0CBA8}" dt="2020-05-22T02:49:45.911" v="175" actId="1076"/>
          <ac:spMkLst>
            <pc:docMk/>
            <pc:sldMk cId="4174331227" sldId="1506"/>
            <ac:spMk id="50" creationId="{C265A879-66C7-4D62-8F2F-5933AD37294D}"/>
          </ac:spMkLst>
        </pc:spChg>
        <pc:spChg chg="mod">
          <ac:chgData name="Batuhan Yildiz" userId="90f344fc-4655-4923-aeaf-697bba59c1a7" providerId="ADAL" clId="{639795FD-CBE5-4A09-AF3B-B9D7C5B0CBA8}" dt="2020-05-22T02:49:45.911" v="175" actId="1076"/>
          <ac:spMkLst>
            <pc:docMk/>
            <pc:sldMk cId="4174331227" sldId="1506"/>
            <ac:spMk id="51" creationId="{FE2A802F-2F48-41EC-B7A6-2A971F26ADC8}"/>
          </ac:spMkLst>
        </pc:spChg>
        <pc:spChg chg="mod">
          <ac:chgData name="Batuhan Yildiz" userId="90f344fc-4655-4923-aeaf-697bba59c1a7" providerId="ADAL" clId="{639795FD-CBE5-4A09-AF3B-B9D7C5B0CBA8}" dt="2020-05-22T02:49:45.911" v="175" actId="1076"/>
          <ac:spMkLst>
            <pc:docMk/>
            <pc:sldMk cId="4174331227" sldId="1506"/>
            <ac:spMk id="52" creationId="{C7B2B81A-2AE1-4F49-BBC4-DA5974A9B657}"/>
          </ac:spMkLst>
        </pc:spChg>
        <pc:spChg chg="mod">
          <ac:chgData name="Batuhan Yildiz" userId="90f344fc-4655-4923-aeaf-697bba59c1a7" providerId="ADAL" clId="{639795FD-CBE5-4A09-AF3B-B9D7C5B0CBA8}" dt="2020-05-22T02:49:45.911" v="175" actId="1076"/>
          <ac:spMkLst>
            <pc:docMk/>
            <pc:sldMk cId="4174331227" sldId="1506"/>
            <ac:spMk id="53" creationId="{986DFED8-A7A5-4659-AA4E-65DBE020F66B}"/>
          </ac:spMkLst>
        </pc:spChg>
        <pc:spChg chg="mod">
          <ac:chgData name="Batuhan Yildiz" userId="90f344fc-4655-4923-aeaf-697bba59c1a7" providerId="ADAL" clId="{639795FD-CBE5-4A09-AF3B-B9D7C5B0CBA8}" dt="2020-05-22T02:49:45.911" v="175" actId="1076"/>
          <ac:spMkLst>
            <pc:docMk/>
            <pc:sldMk cId="4174331227" sldId="1506"/>
            <ac:spMk id="54" creationId="{5B37512A-8246-403C-8609-1B297EA845F0}"/>
          </ac:spMkLst>
        </pc:spChg>
        <pc:spChg chg="mod">
          <ac:chgData name="Batuhan Yildiz" userId="90f344fc-4655-4923-aeaf-697bba59c1a7" providerId="ADAL" clId="{639795FD-CBE5-4A09-AF3B-B9D7C5B0CBA8}" dt="2020-05-22T02:49:45.911" v="175" actId="1076"/>
          <ac:spMkLst>
            <pc:docMk/>
            <pc:sldMk cId="4174331227" sldId="1506"/>
            <ac:spMk id="55" creationId="{CDD6A2C8-A9DB-4076-A976-978D33F5F1AF}"/>
          </ac:spMkLst>
        </pc:spChg>
        <pc:spChg chg="mod">
          <ac:chgData name="Batuhan Yildiz" userId="90f344fc-4655-4923-aeaf-697bba59c1a7" providerId="ADAL" clId="{639795FD-CBE5-4A09-AF3B-B9D7C5B0CBA8}" dt="2020-05-22T02:49:45.911" v="175" actId="1076"/>
          <ac:spMkLst>
            <pc:docMk/>
            <pc:sldMk cId="4174331227" sldId="1506"/>
            <ac:spMk id="56" creationId="{114053ED-8765-466E-84AE-A07DA021C65D}"/>
          </ac:spMkLst>
        </pc:spChg>
        <pc:spChg chg="mod">
          <ac:chgData name="Batuhan Yildiz" userId="90f344fc-4655-4923-aeaf-697bba59c1a7" providerId="ADAL" clId="{639795FD-CBE5-4A09-AF3B-B9D7C5B0CBA8}" dt="2020-05-22T02:49:45.911" v="175" actId="1076"/>
          <ac:spMkLst>
            <pc:docMk/>
            <pc:sldMk cId="4174331227" sldId="1506"/>
            <ac:spMk id="57" creationId="{EAEDCB83-39E0-4A5D-AF6B-24E5C7CE9796}"/>
          </ac:spMkLst>
        </pc:spChg>
        <pc:spChg chg="mod">
          <ac:chgData name="Batuhan Yildiz" userId="90f344fc-4655-4923-aeaf-697bba59c1a7" providerId="ADAL" clId="{639795FD-CBE5-4A09-AF3B-B9D7C5B0CBA8}" dt="2020-05-22T02:49:45.911" v="175" actId="1076"/>
          <ac:spMkLst>
            <pc:docMk/>
            <pc:sldMk cId="4174331227" sldId="1506"/>
            <ac:spMk id="58" creationId="{59F6E1F2-FFD9-46E3-8091-608AF1877D43}"/>
          </ac:spMkLst>
        </pc:spChg>
        <pc:spChg chg="mod">
          <ac:chgData name="Batuhan Yildiz" userId="90f344fc-4655-4923-aeaf-697bba59c1a7" providerId="ADAL" clId="{639795FD-CBE5-4A09-AF3B-B9D7C5B0CBA8}" dt="2020-05-22T02:49:45.911" v="175" actId="1076"/>
          <ac:spMkLst>
            <pc:docMk/>
            <pc:sldMk cId="4174331227" sldId="1506"/>
            <ac:spMk id="59" creationId="{C9C991CD-B4F0-41E8-8798-B69F500180DE}"/>
          </ac:spMkLst>
        </pc:spChg>
        <pc:spChg chg="mod">
          <ac:chgData name="Batuhan Yildiz" userId="90f344fc-4655-4923-aeaf-697bba59c1a7" providerId="ADAL" clId="{639795FD-CBE5-4A09-AF3B-B9D7C5B0CBA8}" dt="2020-05-22T02:49:45.911" v="175" actId="1076"/>
          <ac:spMkLst>
            <pc:docMk/>
            <pc:sldMk cId="4174331227" sldId="1506"/>
            <ac:spMk id="60" creationId="{426269A6-1A40-43C7-A172-B551A71A3B86}"/>
          </ac:spMkLst>
        </pc:spChg>
        <pc:spChg chg="mod">
          <ac:chgData name="Batuhan Yildiz" userId="90f344fc-4655-4923-aeaf-697bba59c1a7" providerId="ADAL" clId="{639795FD-CBE5-4A09-AF3B-B9D7C5B0CBA8}" dt="2020-05-22T02:49:45.911" v="175" actId="1076"/>
          <ac:spMkLst>
            <pc:docMk/>
            <pc:sldMk cId="4174331227" sldId="1506"/>
            <ac:spMk id="61" creationId="{002CC1DF-7D1C-4A21-B69B-B3D678418D5F}"/>
          </ac:spMkLst>
        </pc:spChg>
        <pc:spChg chg="mod">
          <ac:chgData name="Batuhan Yildiz" userId="90f344fc-4655-4923-aeaf-697bba59c1a7" providerId="ADAL" clId="{639795FD-CBE5-4A09-AF3B-B9D7C5B0CBA8}" dt="2020-05-22T02:49:45.911" v="175" actId="1076"/>
          <ac:spMkLst>
            <pc:docMk/>
            <pc:sldMk cId="4174331227" sldId="1506"/>
            <ac:spMk id="62" creationId="{5131CD87-51EF-490F-9DE6-8BF3015F8CD8}"/>
          </ac:spMkLst>
        </pc:spChg>
        <pc:spChg chg="mod">
          <ac:chgData name="Batuhan Yildiz" userId="90f344fc-4655-4923-aeaf-697bba59c1a7" providerId="ADAL" clId="{639795FD-CBE5-4A09-AF3B-B9D7C5B0CBA8}" dt="2020-05-22T02:49:45.911" v="175" actId="1076"/>
          <ac:spMkLst>
            <pc:docMk/>
            <pc:sldMk cId="4174331227" sldId="1506"/>
            <ac:spMk id="63" creationId="{3AF3AED8-D2B4-45EF-B9E7-36FCCD2533C6}"/>
          </ac:spMkLst>
        </pc:spChg>
        <pc:graphicFrameChg chg="del mod">
          <ac:chgData name="Batuhan Yildiz" userId="90f344fc-4655-4923-aeaf-697bba59c1a7" providerId="ADAL" clId="{639795FD-CBE5-4A09-AF3B-B9D7C5B0CBA8}" dt="2020-05-22T02:49:58.165" v="176" actId="21"/>
          <ac:graphicFrameMkLst>
            <pc:docMk/>
            <pc:sldMk cId="4174331227" sldId="1506"/>
            <ac:graphicFrameMk id="3" creationId="{D3196DDF-F669-4702-A8B2-436990216CE7}"/>
          </ac:graphicFrameMkLst>
        </pc:graphicFrameChg>
        <pc:graphicFrameChg chg="add mod">
          <ac:chgData name="Batuhan Yildiz" userId="90f344fc-4655-4923-aeaf-697bba59c1a7" providerId="ADAL" clId="{639795FD-CBE5-4A09-AF3B-B9D7C5B0CBA8}" dt="2020-05-22T02:50:16.687" v="180" actId="14100"/>
          <ac:graphicFrameMkLst>
            <pc:docMk/>
            <pc:sldMk cId="4174331227" sldId="1506"/>
            <ac:graphicFrameMk id="7" creationId="{ED3B8C91-DEC0-41B6-8662-E0730E77150B}"/>
          </ac:graphicFrameMkLst>
        </pc:graphicFrameChg>
      </pc:sldChg>
      <pc:sldChg chg="addSp delSp modSp mod modClrScheme chgLayout">
        <pc:chgData name="Batuhan Yildiz" userId="90f344fc-4655-4923-aeaf-697bba59c1a7" providerId="ADAL" clId="{639795FD-CBE5-4A09-AF3B-B9D7C5B0CBA8}" dt="2020-05-22T21:42:24.539" v="292" actId="700"/>
        <pc:sldMkLst>
          <pc:docMk/>
          <pc:sldMk cId="2977417569" sldId="1507"/>
        </pc:sldMkLst>
        <pc:spChg chg="del mod ord">
          <ac:chgData name="Batuhan Yildiz" userId="90f344fc-4655-4923-aeaf-697bba59c1a7" providerId="ADAL" clId="{639795FD-CBE5-4A09-AF3B-B9D7C5B0CBA8}" dt="2020-05-22T21:42:24.539" v="292" actId="700"/>
          <ac:spMkLst>
            <pc:docMk/>
            <pc:sldMk cId="2977417569" sldId="1507"/>
            <ac:spMk id="2" creationId="{00000000-0000-0000-0000-000000000000}"/>
          </ac:spMkLst>
        </pc:spChg>
        <pc:spChg chg="mod ord">
          <ac:chgData name="Batuhan Yildiz" userId="90f344fc-4655-4923-aeaf-697bba59c1a7" providerId="ADAL" clId="{639795FD-CBE5-4A09-AF3B-B9D7C5B0CBA8}" dt="2020-05-22T21:42:24.539" v="292" actId="700"/>
          <ac:spMkLst>
            <pc:docMk/>
            <pc:sldMk cId="2977417569" sldId="1507"/>
            <ac:spMk id="3" creationId="{00000000-0000-0000-0000-000000000000}"/>
          </ac:spMkLst>
        </pc:spChg>
        <pc:spChg chg="del mod ord">
          <ac:chgData name="Batuhan Yildiz" userId="90f344fc-4655-4923-aeaf-697bba59c1a7" providerId="ADAL" clId="{639795FD-CBE5-4A09-AF3B-B9D7C5B0CBA8}" dt="2020-05-22T21:42:24.539" v="292" actId="700"/>
          <ac:spMkLst>
            <pc:docMk/>
            <pc:sldMk cId="2977417569" sldId="1507"/>
            <ac:spMk id="4" creationId="{00000000-0000-0000-0000-000000000000}"/>
          </ac:spMkLst>
        </pc:spChg>
        <pc:spChg chg="add mod ord">
          <ac:chgData name="Batuhan Yildiz" userId="90f344fc-4655-4923-aeaf-697bba59c1a7" providerId="ADAL" clId="{639795FD-CBE5-4A09-AF3B-B9D7C5B0CBA8}" dt="2020-05-22T21:42:24.539" v="292" actId="700"/>
          <ac:spMkLst>
            <pc:docMk/>
            <pc:sldMk cId="2977417569" sldId="1507"/>
            <ac:spMk id="5" creationId="{9751B286-9F6A-4844-ADCF-2693B687B154}"/>
          </ac:spMkLst>
        </pc:spChg>
        <pc:spChg chg="add mod ord">
          <ac:chgData name="Batuhan Yildiz" userId="90f344fc-4655-4923-aeaf-697bba59c1a7" providerId="ADAL" clId="{639795FD-CBE5-4A09-AF3B-B9D7C5B0CBA8}" dt="2020-05-22T21:42:24.539" v="292" actId="700"/>
          <ac:spMkLst>
            <pc:docMk/>
            <pc:sldMk cId="2977417569" sldId="1507"/>
            <ac:spMk id="6" creationId="{D0320A97-E157-464B-99AA-FBCB0BCBB762}"/>
          </ac:spMkLst>
        </pc:spChg>
      </pc:sldChg>
      <pc:sldChg chg="addSp delSp modSp mod modClrScheme chgLayout">
        <pc:chgData name="Batuhan Yildiz" userId="90f344fc-4655-4923-aeaf-697bba59c1a7" providerId="ADAL" clId="{639795FD-CBE5-4A09-AF3B-B9D7C5B0CBA8}" dt="2020-05-22T21:48:56.358" v="354" actId="700"/>
        <pc:sldMkLst>
          <pc:docMk/>
          <pc:sldMk cId="616180451" sldId="1517"/>
        </pc:sldMkLst>
        <pc:spChg chg="del mod ord">
          <ac:chgData name="Batuhan Yildiz" userId="90f344fc-4655-4923-aeaf-697bba59c1a7" providerId="ADAL" clId="{639795FD-CBE5-4A09-AF3B-B9D7C5B0CBA8}" dt="2020-05-22T21:48:56.358" v="354" actId="700"/>
          <ac:spMkLst>
            <pc:docMk/>
            <pc:sldMk cId="616180451" sldId="1517"/>
            <ac:spMk id="2" creationId="{00000000-0000-0000-0000-000000000000}"/>
          </ac:spMkLst>
        </pc:spChg>
        <pc:spChg chg="mod ord">
          <ac:chgData name="Batuhan Yildiz" userId="90f344fc-4655-4923-aeaf-697bba59c1a7" providerId="ADAL" clId="{639795FD-CBE5-4A09-AF3B-B9D7C5B0CBA8}" dt="2020-05-22T21:48:56.358" v="354" actId="700"/>
          <ac:spMkLst>
            <pc:docMk/>
            <pc:sldMk cId="616180451" sldId="1517"/>
            <ac:spMk id="3" creationId="{00000000-0000-0000-0000-000000000000}"/>
          </ac:spMkLst>
        </pc:spChg>
        <pc:spChg chg="del mod ord">
          <ac:chgData name="Batuhan Yildiz" userId="90f344fc-4655-4923-aeaf-697bba59c1a7" providerId="ADAL" clId="{639795FD-CBE5-4A09-AF3B-B9D7C5B0CBA8}" dt="2020-05-22T21:48:56.358" v="354" actId="700"/>
          <ac:spMkLst>
            <pc:docMk/>
            <pc:sldMk cId="616180451" sldId="1517"/>
            <ac:spMk id="4" creationId="{00000000-0000-0000-0000-000000000000}"/>
          </ac:spMkLst>
        </pc:spChg>
        <pc:spChg chg="add mod ord">
          <ac:chgData name="Batuhan Yildiz" userId="90f344fc-4655-4923-aeaf-697bba59c1a7" providerId="ADAL" clId="{639795FD-CBE5-4A09-AF3B-B9D7C5B0CBA8}" dt="2020-05-22T21:48:56.358" v="354" actId="700"/>
          <ac:spMkLst>
            <pc:docMk/>
            <pc:sldMk cId="616180451" sldId="1517"/>
            <ac:spMk id="5" creationId="{E9E59665-EA42-4F68-9ADB-F24788A3ACDC}"/>
          </ac:spMkLst>
        </pc:spChg>
        <pc:spChg chg="add mod ord">
          <ac:chgData name="Batuhan Yildiz" userId="90f344fc-4655-4923-aeaf-697bba59c1a7" providerId="ADAL" clId="{639795FD-CBE5-4A09-AF3B-B9D7C5B0CBA8}" dt="2020-05-22T21:48:56.358" v="354" actId="700"/>
          <ac:spMkLst>
            <pc:docMk/>
            <pc:sldMk cId="616180451" sldId="1517"/>
            <ac:spMk id="6" creationId="{0EAB04D7-C4E0-4225-A8DC-3EEEF8066C1A}"/>
          </ac:spMkLst>
        </pc:spChg>
      </pc:sldChg>
      <pc:sldChg chg="addSp delSp modSp mod chgLayout">
        <pc:chgData name="Batuhan Yildiz" userId="90f344fc-4655-4923-aeaf-697bba59c1a7" providerId="ADAL" clId="{639795FD-CBE5-4A09-AF3B-B9D7C5B0CBA8}" dt="2020-05-22T03:00:26.557" v="239" actId="478"/>
        <pc:sldMkLst>
          <pc:docMk/>
          <pc:sldMk cId="3223002142" sldId="1518"/>
        </pc:sldMkLst>
        <pc:spChg chg="add del mod ord">
          <ac:chgData name="Batuhan Yildiz" userId="90f344fc-4655-4923-aeaf-697bba59c1a7" providerId="ADAL" clId="{639795FD-CBE5-4A09-AF3B-B9D7C5B0CBA8}" dt="2020-05-22T03:00:26.557" v="239" actId="478"/>
          <ac:spMkLst>
            <pc:docMk/>
            <pc:sldMk cId="3223002142" sldId="1518"/>
            <ac:spMk id="2" creationId="{266996B6-4CB6-4909-AC6D-3B6AE2DE2A4F}"/>
          </ac:spMkLst>
        </pc:spChg>
        <pc:spChg chg="mod ord">
          <ac:chgData name="Batuhan Yildiz" userId="90f344fc-4655-4923-aeaf-697bba59c1a7" providerId="ADAL" clId="{639795FD-CBE5-4A09-AF3B-B9D7C5B0CBA8}" dt="2020-05-22T02:58:09.314" v="220" actId="700"/>
          <ac:spMkLst>
            <pc:docMk/>
            <pc:sldMk cId="3223002142" sldId="1518"/>
            <ac:spMk id="3" creationId="{00000000-0000-0000-0000-000000000000}"/>
          </ac:spMkLst>
        </pc:spChg>
        <pc:graphicFrameChg chg="add del ord">
          <ac:chgData name="Batuhan Yildiz" userId="90f344fc-4655-4923-aeaf-697bba59c1a7" providerId="ADAL" clId="{639795FD-CBE5-4A09-AF3B-B9D7C5B0CBA8}" dt="2020-05-22T03:00:18.781" v="238" actId="167"/>
          <ac:graphicFrameMkLst>
            <pc:docMk/>
            <pc:sldMk cId="3223002142" sldId="1518"/>
            <ac:graphicFrameMk id="5" creationId="{F3F9DE9E-E785-41FE-AA70-FB4CEF8BFF20}"/>
          </ac:graphicFrameMkLst>
        </pc:graphicFrameChg>
      </pc:sldChg>
      <pc:sldChg chg="modSp">
        <pc:chgData name="Batuhan Yildiz" userId="90f344fc-4655-4923-aeaf-697bba59c1a7" providerId="ADAL" clId="{639795FD-CBE5-4A09-AF3B-B9D7C5B0CBA8}" dt="2020-05-22T02:48:37.376" v="167" actId="12100"/>
        <pc:sldMkLst>
          <pc:docMk/>
          <pc:sldMk cId="917702128" sldId="1519"/>
        </pc:sldMkLst>
        <pc:graphicFrameChg chg="mod">
          <ac:chgData name="Batuhan Yildiz" userId="90f344fc-4655-4923-aeaf-697bba59c1a7" providerId="ADAL" clId="{639795FD-CBE5-4A09-AF3B-B9D7C5B0CBA8}" dt="2020-05-22T02:48:37.376" v="167" actId="12100"/>
          <ac:graphicFrameMkLst>
            <pc:docMk/>
            <pc:sldMk cId="917702128" sldId="1519"/>
            <ac:graphicFrameMk id="6" creationId="{6A5A6F88-EE31-4C94-8D7C-96D61DCA556C}"/>
          </ac:graphicFrameMkLst>
        </pc:graphicFrameChg>
      </pc:sldChg>
      <pc:sldChg chg="modSp">
        <pc:chgData name="Batuhan Yildiz" userId="90f344fc-4655-4923-aeaf-697bba59c1a7" providerId="ADAL" clId="{639795FD-CBE5-4A09-AF3B-B9D7C5B0CBA8}" dt="2020-05-22T02:48:49.757" v="169" actId="12100"/>
        <pc:sldMkLst>
          <pc:docMk/>
          <pc:sldMk cId="2611493337" sldId="1520"/>
        </pc:sldMkLst>
        <pc:graphicFrameChg chg="mod">
          <ac:chgData name="Batuhan Yildiz" userId="90f344fc-4655-4923-aeaf-697bba59c1a7" providerId="ADAL" clId="{639795FD-CBE5-4A09-AF3B-B9D7C5B0CBA8}" dt="2020-05-22T02:48:49.757" v="169" actId="12100"/>
          <ac:graphicFrameMkLst>
            <pc:docMk/>
            <pc:sldMk cId="2611493337" sldId="1520"/>
            <ac:graphicFrameMk id="9" creationId="{285ACD90-4B61-4456-BF91-362E7AD3E58F}"/>
          </ac:graphicFrameMkLst>
        </pc:graphicFrameChg>
      </pc:sldChg>
      <pc:sldChg chg="addSp delSp modSp mod modClrScheme chgLayout">
        <pc:chgData name="Batuhan Yildiz" userId="90f344fc-4655-4923-aeaf-697bba59c1a7" providerId="ADAL" clId="{639795FD-CBE5-4A09-AF3B-B9D7C5B0CBA8}" dt="2020-05-22T03:03:27.424" v="256" actId="12100"/>
        <pc:sldMkLst>
          <pc:docMk/>
          <pc:sldMk cId="3386092039" sldId="1545"/>
        </pc:sldMkLst>
        <pc:spChg chg="mod ord">
          <ac:chgData name="Batuhan Yildiz" userId="90f344fc-4655-4923-aeaf-697bba59c1a7" providerId="ADAL" clId="{639795FD-CBE5-4A09-AF3B-B9D7C5B0CBA8}" dt="2020-05-22T03:01:40.814" v="244" actId="700"/>
          <ac:spMkLst>
            <pc:docMk/>
            <pc:sldMk cId="3386092039" sldId="1545"/>
            <ac:spMk id="5" creationId="{00000000-0000-0000-0000-000000000000}"/>
          </ac:spMkLst>
        </pc:spChg>
        <pc:spChg chg="del mod ord">
          <ac:chgData name="Batuhan Yildiz" userId="90f344fc-4655-4923-aeaf-697bba59c1a7" providerId="ADAL" clId="{639795FD-CBE5-4A09-AF3B-B9D7C5B0CBA8}" dt="2020-05-22T03:03:23.647" v="255" actId="12084"/>
          <ac:spMkLst>
            <pc:docMk/>
            <pc:sldMk cId="3386092039" sldId="1545"/>
            <ac:spMk id="6" creationId="{00000000-0000-0000-0000-000000000000}"/>
          </ac:spMkLst>
        </pc:spChg>
        <pc:graphicFrameChg chg="add mod">
          <ac:chgData name="Batuhan Yildiz" userId="90f344fc-4655-4923-aeaf-697bba59c1a7" providerId="ADAL" clId="{639795FD-CBE5-4A09-AF3B-B9D7C5B0CBA8}" dt="2020-05-22T03:03:27.424" v="256" actId="12100"/>
          <ac:graphicFrameMkLst>
            <pc:docMk/>
            <pc:sldMk cId="3386092039" sldId="1545"/>
            <ac:graphicFrameMk id="2" creationId="{FDA37919-9262-4E60-AC1C-A4F695986AF6}"/>
          </ac:graphicFrameMkLst>
        </pc:graphicFrameChg>
        <pc:picChg chg="mod">
          <ac:chgData name="Batuhan Yildiz" userId="90f344fc-4655-4923-aeaf-697bba59c1a7" providerId="ADAL" clId="{639795FD-CBE5-4A09-AF3B-B9D7C5B0CBA8}" dt="2020-05-22T03:01:17.534" v="241" actId="1076"/>
          <ac:picMkLst>
            <pc:docMk/>
            <pc:sldMk cId="3386092039" sldId="1545"/>
            <ac:picMk id="9" creationId="{00000000-0000-0000-0000-000000000000}"/>
          </ac:picMkLst>
        </pc:picChg>
      </pc:sldChg>
      <pc:sldChg chg="addSp delSp modSp mod modClrScheme chgLayout">
        <pc:chgData name="Batuhan Yildiz" userId="90f344fc-4655-4923-aeaf-697bba59c1a7" providerId="ADAL" clId="{639795FD-CBE5-4A09-AF3B-B9D7C5B0CBA8}" dt="2020-05-22T03:06:37.404" v="290" actId="478"/>
        <pc:sldMkLst>
          <pc:docMk/>
          <pc:sldMk cId="2049593846" sldId="1546"/>
        </pc:sldMkLst>
        <pc:spChg chg="add del mod ord">
          <ac:chgData name="Batuhan Yildiz" userId="90f344fc-4655-4923-aeaf-697bba59c1a7" providerId="ADAL" clId="{639795FD-CBE5-4A09-AF3B-B9D7C5B0CBA8}" dt="2020-05-22T03:06:37.404" v="290" actId="478"/>
          <ac:spMkLst>
            <pc:docMk/>
            <pc:sldMk cId="2049593846" sldId="1546"/>
            <ac:spMk id="2" creationId="{2DAF8EFC-9B0A-4F34-97E1-55EDC5350FC1}"/>
          </ac:spMkLst>
        </pc:spChg>
        <pc:spChg chg="mod ord">
          <ac:chgData name="Batuhan Yildiz" userId="90f344fc-4655-4923-aeaf-697bba59c1a7" providerId="ADAL" clId="{639795FD-CBE5-4A09-AF3B-B9D7C5B0CBA8}" dt="2020-05-22T03:06:17.967" v="287" actId="700"/>
          <ac:spMkLst>
            <pc:docMk/>
            <pc:sldMk cId="2049593846" sldId="1546"/>
            <ac:spMk id="3" creationId="{3D9ECEAE-0829-459D-82A0-0A45218006E1}"/>
          </ac:spMkLst>
        </pc:spChg>
        <pc:picChg chg="mod">
          <ac:chgData name="Batuhan Yildiz" userId="90f344fc-4655-4923-aeaf-697bba59c1a7" providerId="ADAL" clId="{639795FD-CBE5-4A09-AF3B-B9D7C5B0CBA8}" dt="2020-05-22T03:06:34.439" v="289" actId="1076"/>
          <ac:picMkLst>
            <pc:docMk/>
            <pc:sldMk cId="2049593846" sldId="1546"/>
            <ac:picMk id="6" creationId="{18ED1204-F156-4DF1-B4B1-72448BAEC998}"/>
          </ac:picMkLst>
        </pc:picChg>
      </pc:sldChg>
      <pc:sldChg chg="addSp delSp modSp mod modClrScheme chgLayout">
        <pc:chgData name="Batuhan Yildiz" userId="90f344fc-4655-4923-aeaf-697bba59c1a7" providerId="ADAL" clId="{639795FD-CBE5-4A09-AF3B-B9D7C5B0CBA8}" dt="2020-05-22T03:04:51.801" v="272" actId="1076"/>
        <pc:sldMkLst>
          <pc:docMk/>
          <pc:sldMk cId="677664238" sldId="1547"/>
        </pc:sldMkLst>
        <pc:spChg chg="add del mod ord">
          <ac:chgData name="Batuhan Yildiz" userId="90f344fc-4655-4923-aeaf-697bba59c1a7" providerId="ADAL" clId="{639795FD-CBE5-4A09-AF3B-B9D7C5B0CBA8}" dt="2020-05-22T03:04:23.275" v="265" actId="478"/>
          <ac:spMkLst>
            <pc:docMk/>
            <pc:sldMk cId="677664238" sldId="1547"/>
            <ac:spMk id="2" creationId="{B402D06C-7FD7-4836-86C5-8DBCD68FF0FD}"/>
          </ac:spMkLst>
        </pc:spChg>
        <pc:spChg chg="mod ord">
          <ac:chgData name="Batuhan Yildiz" userId="90f344fc-4655-4923-aeaf-697bba59c1a7" providerId="ADAL" clId="{639795FD-CBE5-4A09-AF3B-B9D7C5B0CBA8}" dt="2020-05-22T03:01:08.173" v="240" actId="700"/>
          <ac:spMkLst>
            <pc:docMk/>
            <pc:sldMk cId="677664238" sldId="1547"/>
            <ac:spMk id="3" creationId="{7B08FCC1-310E-48F5-9793-679BD3B76689}"/>
          </ac:spMkLst>
        </pc:spChg>
        <pc:spChg chg="add del mod ord">
          <ac:chgData name="Batuhan Yildiz" userId="90f344fc-4655-4923-aeaf-697bba59c1a7" providerId="ADAL" clId="{639795FD-CBE5-4A09-AF3B-B9D7C5B0CBA8}" dt="2020-05-22T03:04:35.796" v="269" actId="167"/>
          <ac:spMkLst>
            <pc:docMk/>
            <pc:sldMk cId="677664238" sldId="1547"/>
            <ac:spMk id="8" creationId="{F737032E-E6D7-4216-8D41-A43509D8C756}"/>
          </ac:spMkLst>
        </pc:spChg>
        <pc:picChg chg="mod">
          <ac:chgData name="Batuhan Yildiz" userId="90f344fc-4655-4923-aeaf-697bba59c1a7" providerId="ADAL" clId="{639795FD-CBE5-4A09-AF3B-B9D7C5B0CBA8}" dt="2020-05-22T03:04:51.801" v="272" actId="1076"/>
          <ac:picMkLst>
            <pc:docMk/>
            <pc:sldMk cId="677664238" sldId="1547"/>
            <ac:picMk id="4" creationId="{0C7B24B8-890D-48C3-A494-8634128A8ADD}"/>
          </ac:picMkLst>
        </pc:picChg>
        <pc:picChg chg="mod">
          <ac:chgData name="Batuhan Yildiz" userId="90f344fc-4655-4923-aeaf-697bba59c1a7" providerId="ADAL" clId="{639795FD-CBE5-4A09-AF3B-B9D7C5B0CBA8}" dt="2020-05-22T03:04:51.801" v="272" actId="1076"/>
          <ac:picMkLst>
            <pc:docMk/>
            <pc:sldMk cId="677664238" sldId="1547"/>
            <ac:picMk id="6" creationId="{6C145AF4-A5AF-48B9-A360-F318ACF45FE0}"/>
          </ac:picMkLst>
        </pc:picChg>
        <pc:picChg chg="mod">
          <ac:chgData name="Batuhan Yildiz" userId="90f344fc-4655-4923-aeaf-697bba59c1a7" providerId="ADAL" clId="{639795FD-CBE5-4A09-AF3B-B9D7C5B0CBA8}" dt="2020-05-22T03:04:51.801" v="272" actId="1076"/>
          <ac:picMkLst>
            <pc:docMk/>
            <pc:sldMk cId="677664238" sldId="1547"/>
            <ac:picMk id="7" creationId="{082F022E-0E44-4F49-9B30-C299D209958E}"/>
          </ac:picMkLst>
        </pc:picChg>
      </pc:sldChg>
      <pc:sldChg chg="addSp delSp modSp mod chgLayout">
        <pc:chgData name="Batuhan Yildiz" userId="90f344fc-4655-4923-aeaf-697bba59c1a7" providerId="ADAL" clId="{639795FD-CBE5-4A09-AF3B-B9D7C5B0CBA8}" dt="2020-05-22T21:44:07.038" v="308" actId="478"/>
        <pc:sldMkLst>
          <pc:docMk/>
          <pc:sldMk cId="3946343017" sldId="1548"/>
        </pc:sldMkLst>
        <pc:spChg chg="del">
          <ac:chgData name="Batuhan Yildiz" userId="90f344fc-4655-4923-aeaf-697bba59c1a7" providerId="ADAL" clId="{639795FD-CBE5-4A09-AF3B-B9D7C5B0CBA8}" dt="2020-05-22T21:42:57.544" v="295" actId="700"/>
          <ac:spMkLst>
            <pc:docMk/>
            <pc:sldMk cId="3946343017" sldId="1548"/>
            <ac:spMk id="2" creationId="{1DA0A6DE-44BD-4401-B012-FD7CC226B3EA}"/>
          </ac:spMkLst>
        </pc:spChg>
        <pc:spChg chg="del">
          <ac:chgData name="Batuhan Yildiz" userId="90f344fc-4655-4923-aeaf-697bba59c1a7" providerId="ADAL" clId="{639795FD-CBE5-4A09-AF3B-B9D7C5B0CBA8}" dt="2020-05-22T21:42:51.281" v="293" actId="478"/>
          <ac:spMkLst>
            <pc:docMk/>
            <pc:sldMk cId="3946343017" sldId="1548"/>
            <ac:spMk id="3" creationId="{17C7FF36-A247-4DE3-A123-A362C8FDC382}"/>
          </ac:spMkLst>
        </pc:spChg>
        <pc:spChg chg="add del mod">
          <ac:chgData name="Batuhan Yildiz" userId="90f344fc-4655-4923-aeaf-697bba59c1a7" providerId="ADAL" clId="{639795FD-CBE5-4A09-AF3B-B9D7C5B0CBA8}" dt="2020-05-22T21:42:52.415" v="294" actId="478"/>
          <ac:spMkLst>
            <pc:docMk/>
            <pc:sldMk cId="3946343017" sldId="1548"/>
            <ac:spMk id="6" creationId="{A32B313B-EDE6-4D45-935E-305C8802BEBD}"/>
          </ac:spMkLst>
        </pc:spChg>
        <pc:spChg chg="add mod ord">
          <ac:chgData name="Batuhan Yildiz" userId="90f344fc-4655-4923-aeaf-697bba59c1a7" providerId="ADAL" clId="{639795FD-CBE5-4A09-AF3B-B9D7C5B0CBA8}" dt="2020-05-22T21:43:02.495" v="296"/>
          <ac:spMkLst>
            <pc:docMk/>
            <pc:sldMk cId="3946343017" sldId="1548"/>
            <ac:spMk id="7" creationId="{FED8B7BC-0203-4D69-8C2F-0A66E3F5EA01}"/>
          </ac:spMkLst>
        </pc:spChg>
        <pc:spChg chg="add mod ord">
          <ac:chgData name="Batuhan Yildiz" userId="90f344fc-4655-4923-aeaf-697bba59c1a7" providerId="ADAL" clId="{639795FD-CBE5-4A09-AF3B-B9D7C5B0CBA8}" dt="2020-05-22T21:42:57.544" v="295" actId="700"/>
          <ac:spMkLst>
            <pc:docMk/>
            <pc:sldMk cId="3946343017" sldId="1548"/>
            <ac:spMk id="8" creationId="{9FF37E3A-DF64-4081-A9F9-2DA43C7F0121}"/>
          </ac:spMkLst>
        </pc:spChg>
        <pc:spChg chg="add del mod ord">
          <ac:chgData name="Batuhan Yildiz" userId="90f344fc-4655-4923-aeaf-697bba59c1a7" providerId="ADAL" clId="{639795FD-CBE5-4A09-AF3B-B9D7C5B0CBA8}" dt="2020-05-22T21:44:07.038" v="308" actId="478"/>
          <ac:spMkLst>
            <pc:docMk/>
            <pc:sldMk cId="3946343017" sldId="1548"/>
            <ac:spMk id="9" creationId="{FF193915-5671-4ADB-922C-93DFDA9A7253}"/>
          </ac:spMkLst>
        </pc:spChg>
        <pc:graphicFrameChg chg="del">
          <ac:chgData name="Batuhan Yildiz" userId="90f344fc-4655-4923-aeaf-697bba59c1a7" providerId="ADAL" clId="{639795FD-CBE5-4A09-AF3B-B9D7C5B0CBA8}" dt="2020-05-22T21:43:09.165" v="297" actId="21"/>
          <ac:graphicFrameMkLst>
            <pc:docMk/>
            <pc:sldMk cId="3946343017" sldId="1548"/>
            <ac:graphicFrameMk id="4" creationId="{BD44B0EB-130B-439F-8D66-62176288D456}"/>
          </ac:graphicFrameMkLst>
        </pc:graphicFrameChg>
        <pc:graphicFrameChg chg="add del mod">
          <ac:chgData name="Batuhan Yildiz" userId="90f344fc-4655-4923-aeaf-697bba59c1a7" providerId="ADAL" clId="{639795FD-CBE5-4A09-AF3B-B9D7C5B0CBA8}" dt="2020-05-22T21:44:01.803" v="307" actId="478"/>
          <ac:graphicFrameMkLst>
            <pc:docMk/>
            <pc:sldMk cId="3946343017" sldId="1548"/>
            <ac:graphicFrameMk id="11" creationId="{7300A278-8C11-46A9-A515-A8B16A07F507}"/>
          </ac:graphicFrameMkLst>
        </pc:graphicFrameChg>
      </pc:sldChg>
      <pc:sldChg chg="addSp delSp modSp mod chgLayout">
        <pc:chgData name="Batuhan Yildiz" userId="90f344fc-4655-4923-aeaf-697bba59c1a7" providerId="ADAL" clId="{639795FD-CBE5-4A09-AF3B-B9D7C5B0CBA8}" dt="2020-05-22T21:44:34.028" v="313" actId="478"/>
        <pc:sldMkLst>
          <pc:docMk/>
          <pc:sldMk cId="2746168451" sldId="1549"/>
        </pc:sldMkLst>
        <pc:spChg chg="del">
          <ac:chgData name="Batuhan Yildiz" userId="90f344fc-4655-4923-aeaf-697bba59c1a7" providerId="ADAL" clId="{639795FD-CBE5-4A09-AF3B-B9D7C5B0CBA8}" dt="2020-05-22T21:44:23.493" v="311" actId="700"/>
          <ac:spMkLst>
            <pc:docMk/>
            <pc:sldMk cId="2746168451" sldId="1549"/>
            <ac:spMk id="2" creationId="{11EE024B-8932-444A-9444-004DC8E142B0}"/>
          </ac:spMkLst>
        </pc:spChg>
        <pc:spChg chg="del">
          <ac:chgData name="Batuhan Yildiz" userId="90f344fc-4655-4923-aeaf-697bba59c1a7" providerId="ADAL" clId="{639795FD-CBE5-4A09-AF3B-B9D7C5B0CBA8}" dt="2020-05-22T21:44:17.600" v="309" actId="478"/>
          <ac:spMkLst>
            <pc:docMk/>
            <pc:sldMk cId="2746168451" sldId="1549"/>
            <ac:spMk id="3" creationId="{C8555DDD-1A74-4CD4-BED4-84E3CF5F20AB}"/>
          </ac:spMkLst>
        </pc:spChg>
        <pc:spChg chg="add del mod">
          <ac:chgData name="Batuhan Yildiz" userId="90f344fc-4655-4923-aeaf-697bba59c1a7" providerId="ADAL" clId="{639795FD-CBE5-4A09-AF3B-B9D7C5B0CBA8}" dt="2020-05-22T21:44:18.795" v="310" actId="478"/>
          <ac:spMkLst>
            <pc:docMk/>
            <pc:sldMk cId="2746168451" sldId="1549"/>
            <ac:spMk id="6" creationId="{EB0DF684-9926-4274-A113-DF1411A145BE}"/>
          </ac:spMkLst>
        </pc:spChg>
        <pc:spChg chg="add mod ord">
          <ac:chgData name="Batuhan Yildiz" userId="90f344fc-4655-4923-aeaf-697bba59c1a7" providerId="ADAL" clId="{639795FD-CBE5-4A09-AF3B-B9D7C5B0CBA8}" dt="2020-05-22T21:44:26.283" v="312"/>
          <ac:spMkLst>
            <pc:docMk/>
            <pc:sldMk cId="2746168451" sldId="1549"/>
            <ac:spMk id="7" creationId="{CB65D1F8-ECAA-47A6-8009-B702999E660E}"/>
          </ac:spMkLst>
        </pc:spChg>
        <pc:spChg chg="add mod ord">
          <ac:chgData name="Batuhan Yildiz" userId="90f344fc-4655-4923-aeaf-697bba59c1a7" providerId="ADAL" clId="{639795FD-CBE5-4A09-AF3B-B9D7C5B0CBA8}" dt="2020-05-22T21:44:23.493" v="311" actId="700"/>
          <ac:spMkLst>
            <pc:docMk/>
            <pc:sldMk cId="2746168451" sldId="1549"/>
            <ac:spMk id="8" creationId="{003E28E9-A1EF-49CE-A979-F90361388335}"/>
          </ac:spMkLst>
        </pc:spChg>
        <pc:spChg chg="add del mod ord">
          <ac:chgData name="Batuhan Yildiz" userId="90f344fc-4655-4923-aeaf-697bba59c1a7" providerId="ADAL" clId="{639795FD-CBE5-4A09-AF3B-B9D7C5B0CBA8}" dt="2020-05-22T21:44:34.028" v="313" actId="478"/>
          <ac:spMkLst>
            <pc:docMk/>
            <pc:sldMk cId="2746168451" sldId="1549"/>
            <ac:spMk id="9" creationId="{CADEEC54-8553-4204-A516-3DF70CBA7E46}"/>
          </ac:spMkLst>
        </pc:spChg>
      </pc:sldChg>
      <pc:sldChg chg="addSp delSp modSp mod chgLayout">
        <pc:chgData name="Batuhan Yildiz" userId="90f344fc-4655-4923-aeaf-697bba59c1a7" providerId="ADAL" clId="{639795FD-CBE5-4A09-AF3B-B9D7C5B0CBA8}" dt="2020-05-22T21:46:05.135" v="334" actId="15"/>
        <pc:sldMkLst>
          <pc:docMk/>
          <pc:sldMk cId="993133461" sldId="1550"/>
        </pc:sldMkLst>
        <pc:spChg chg="add del">
          <ac:chgData name="Batuhan Yildiz" userId="90f344fc-4655-4923-aeaf-697bba59c1a7" providerId="ADAL" clId="{639795FD-CBE5-4A09-AF3B-B9D7C5B0CBA8}" dt="2020-05-22T21:45:08.202" v="318" actId="478"/>
          <ac:spMkLst>
            <pc:docMk/>
            <pc:sldMk cId="993133461" sldId="1550"/>
            <ac:spMk id="3" creationId="{17C7FF36-A247-4DE3-A123-A362C8FDC382}"/>
          </ac:spMkLst>
        </pc:spChg>
        <pc:spChg chg="add del mod">
          <ac:chgData name="Batuhan Yildiz" userId="90f344fc-4655-4923-aeaf-697bba59c1a7" providerId="ADAL" clId="{639795FD-CBE5-4A09-AF3B-B9D7C5B0CBA8}" dt="2020-05-22T21:44:54.275" v="315" actId="478"/>
          <ac:spMkLst>
            <pc:docMk/>
            <pc:sldMk cId="993133461" sldId="1550"/>
            <ac:spMk id="4" creationId="{13C510EE-68B9-4042-893E-1672F7DB16C8}"/>
          </ac:spMkLst>
        </pc:spChg>
        <pc:spChg chg="del">
          <ac:chgData name="Batuhan Yildiz" userId="90f344fc-4655-4923-aeaf-697bba59c1a7" providerId="ADAL" clId="{639795FD-CBE5-4A09-AF3B-B9D7C5B0CBA8}" dt="2020-05-22T21:45:14.818" v="320" actId="700"/>
          <ac:spMkLst>
            <pc:docMk/>
            <pc:sldMk cId="993133461" sldId="1550"/>
            <ac:spMk id="5" creationId="{673BCBF9-03DC-4D58-A449-55AE8351AE2F}"/>
          </ac:spMkLst>
        </pc:spChg>
        <pc:spChg chg="add del mod">
          <ac:chgData name="Batuhan Yildiz" userId="90f344fc-4655-4923-aeaf-697bba59c1a7" providerId="ADAL" clId="{639795FD-CBE5-4A09-AF3B-B9D7C5B0CBA8}" dt="2020-05-22T21:44:58.995" v="317" actId="478"/>
          <ac:spMkLst>
            <pc:docMk/>
            <pc:sldMk cId="993133461" sldId="1550"/>
            <ac:spMk id="7" creationId="{9977E1C0-D398-455E-8C35-4B55B6D435BA}"/>
          </ac:spMkLst>
        </pc:spChg>
        <pc:spChg chg="add del mod">
          <ac:chgData name="Batuhan Yildiz" userId="90f344fc-4655-4923-aeaf-697bba59c1a7" providerId="ADAL" clId="{639795FD-CBE5-4A09-AF3B-B9D7C5B0CBA8}" dt="2020-05-22T21:45:10.675" v="319" actId="478"/>
          <ac:spMkLst>
            <pc:docMk/>
            <pc:sldMk cId="993133461" sldId="1550"/>
            <ac:spMk id="9" creationId="{DDCC9E9A-7CD7-4D85-9510-ABD5A07E3A31}"/>
          </ac:spMkLst>
        </pc:spChg>
        <pc:spChg chg="add mod ord">
          <ac:chgData name="Batuhan Yildiz" userId="90f344fc-4655-4923-aeaf-697bba59c1a7" providerId="ADAL" clId="{639795FD-CBE5-4A09-AF3B-B9D7C5B0CBA8}" dt="2020-05-22T21:45:33.488" v="324"/>
          <ac:spMkLst>
            <pc:docMk/>
            <pc:sldMk cId="993133461" sldId="1550"/>
            <ac:spMk id="10" creationId="{356CF154-E544-40E2-9534-D4F8C2B8984E}"/>
          </ac:spMkLst>
        </pc:spChg>
        <pc:spChg chg="add mod ord">
          <ac:chgData name="Batuhan Yildiz" userId="90f344fc-4655-4923-aeaf-697bba59c1a7" providerId="ADAL" clId="{639795FD-CBE5-4A09-AF3B-B9D7C5B0CBA8}" dt="2020-05-22T21:45:14.818" v="320" actId="700"/>
          <ac:spMkLst>
            <pc:docMk/>
            <pc:sldMk cId="993133461" sldId="1550"/>
            <ac:spMk id="11" creationId="{58EAE0D5-70E8-43B0-BC94-4BE35F22151D}"/>
          </ac:spMkLst>
        </pc:spChg>
        <pc:spChg chg="add mod ord">
          <ac:chgData name="Batuhan Yildiz" userId="90f344fc-4655-4923-aeaf-697bba59c1a7" providerId="ADAL" clId="{639795FD-CBE5-4A09-AF3B-B9D7C5B0CBA8}" dt="2020-05-22T21:46:05.135" v="334" actId="15"/>
          <ac:spMkLst>
            <pc:docMk/>
            <pc:sldMk cId="993133461" sldId="1550"/>
            <ac:spMk id="12" creationId="{2E62CB1B-2EF9-4E35-958B-9BC95DC3ECEE}"/>
          </ac:spMkLst>
        </pc:spChg>
      </pc:sldChg>
      <pc:sldChg chg="addSp delSp modSp mod chgLayout">
        <pc:chgData name="Batuhan Yildiz" userId="90f344fc-4655-4923-aeaf-697bba59c1a7" providerId="ADAL" clId="{639795FD-CBE5-4A09-AF3B-B9D7C5B0CBA8}" dt="2020-05-22T21:46:40.132" v="340" actId="12100"/>
        <pc:sldMkLst>
          <pc:docMk/>
          <pc:sldMk cId="151394656" sldId="1554"/>
        </pc:sldMkLst>
        <pc:spChg chg="del">
          <ac:chgData name="Batuhan Yildiz" userId="90f344fc-4655-4923-aeaf-697bba59c1a7" providerId="ADAL" clId="{639795FD-CBE5-4A09-AF3B-B9D7C5B0CBA8}" dt="2020-05-22T21:46:24.895" v="337" actId="700"/>
          <ac:spMkLst>
            <pc:docMk/>
            <pc:sldMk cId="151394656" sldId="1554"/>
            <ac:spMk id="2" creationId="{80C19CE0-2EC4-48A1-96BF-14A583282699}"/>
          </ac:spMkLst>
        </pc:spChg>
        <pc:spChg chg="del">
          <ac:chgData name="Batuhan Yildiz" userId="90f344fc-4655-4923-aeaf-697bba59c1a7" providerId="ADAL" clId="{639795FD-CBE5-4A09-AF3B-B9D7C5B0CBA8}" dt="2020-05-22T21:46:18.290" v="335" actId="478"/>
          <ac:spMkLst>
            <pc:docMk/>
            <pc:sldMk cId="151394656" sldId="1554"/>
            <ac:spMk id="3" creationId="{17C7FF36-A247-4DE3-A123-A362C8FDC382}"/>
          </ac:spMkLst>
        </pc:spChg>
        <pc:spChg chg="add del mod">
          <ac:chgData name="Batuhan Yildiz" userId="90f344fc-4655-4923-aeaf-697bba59c1a7" providerId="ADAL" clId="{639795FD-CBE5-4A09-AF3B-B9D7C5B0CBA8}" dt="2020-05-22T21:46:20.459" v="336" actId="478"/>
          <ac:spMkLst>
            <pc:docMk/>
            <pc:sldMk cId="151394656" sldId="1554"/>
            <ac:spMk id="6" creationId="{E434DD89-3C83-4C68-AA72-7FF90B3F0237}"/>
          </ac:spMkLst>
        </pc:spChg>
        <pc:spChg chg="add mod ord">
          <ac:chgData name="Batuhan Yildiz" userId="90f344fc-4655-4923-aeaf-697bba59c1a7" providerId="ADAL" clId="{639795FD-CBE5-4A09-AF3B-B9D7C5B0CBA8}" dt="2020-05-22T21:46:28.156" v="338"/>
          <ac:spMkLst>
            <pc:docMk/>
            <pc:sldMk cId="151394656" sldId="1554"/>
            <ac:spMk id="7" creationId="{C7D75AA1-FA5B-481A-92E1-57D50A7A9100}"/>
          </ac:spMkLst>
        </pc:spChg>
        <pc:spChg chg="add mod ord">
          <ac:chgData name="Batuhan Yildiz" userId="90f344fc-4655-4923-aeaf-697bba59c1a7" providerId="ADAL" clId="{639795FD-CBE5-4A09-AF3B-B9D7C5B0CBA8}" dt="2020-05-22T21:46:24.895" v="337" actId="700"/>
          <ac:spMkLst>
            <pc:docMk/>
            <pc:sldMk cId="151394656" sldId="1554"/>
            <ac:spMk id="8" creationId="{D0D1CEA7-1106-4F94-A11B-139E7E8FEA2F}"/>
          </ac:spMkLst>
        </pc:spChg>
        <pc:spChg chg="add del mod ord">
          <ac:chgData name="Batuhan Yildiz" userId="90f344fc-4655-4923-aeaf-697bba59c1a7" providerId="ADAL" clId="{639795FD-CBE5-4A09-AF3B-B9D7C5B0CBA8}" dt="2020-05-22T21:46:34.835" v="339" actId="478"/>
          <ac:spMkLst>
            <pc:docMk/>
            <pc:sldMk cId="151394656" sldId="1554"/>
            <ac:spMk id="9" creationId="{D01DB624-15CE-4B35-8003-D74224B112C7}"/>
          </ac:spMkLst>
        </pc:spChg>
        <pc:graphicFrameChg chg="mod">
          <ac:chgData name="Batuhan Yildiz" userId="90f344fc-4655-4923-aeaf-697bba59c1a7" providerId="ADAL" clId="{639795FD-CBE5-4A09-AF3B-B9D7C5B0CBA8}" dt="2020-05-22T21:46:40.132" v="340" actId="12100"/>
          <ac:graphicFrameMkLst>
            <pc:docMk/>
            <pc:sldMk cId="151394656" sldId="1554"/>
            <ac:graphicFrameMk id="5" creationId="{3958073A-4FC5-40EC-9503-F4CADB69BBCC}"/>
          </ac:graphicFrameMkLst>
        </pc:graphicFrameChg>
      </pc:sldChg>
      <pc:sldChg chg="modSp mod modClrScheme chgLayout">
        <pc:chgData name="Batuhan Yildiz" userId="90f344fc-4655-4923-aeaf-697bba59c1a7" providerId="ADAL" clId="{639795FD-CBE5-4A09-AF3B-B9D7C5B0CBA8}" dt="2020-05-22T03:06:17.967" v="287" actId="700"/>
        <pc:sldMkLst>
          <pc:docMk/>
          <pc:sldMk cId="4047077769" sldId="1555"/>
        </pc:sldMkLst>
        <pc:spChg chg="mod ord">
          <ac:chgData name="Batuhan Yildiz" userId="90f344fc-4655-4923-aeaf-697bba59c1a7" providerId="ADAL" clId="{639795FD-CBE5-4A09-AF3B-B9D7C5B0CBA8}" dt="2020-05-22T03:06:17.967" v="287" actId="700"/>
          <ac:spMkLst>
            <pc:docMk/>
            <pc:sldMk cId="4047077769" sldId="1555"/>
            <ac:spMk id="3" creationId="{FA0AC06E-1459-4667-8F80-7C669263129C}"/>
          </ac:spMkLst>
        </pc:spChg>
        <pc:spChg chg="mod ord">
          <ac:chgData name="Batuhan Yildiz" userId="90f344fc-4655-4923-aeaf-697bba59c1a7" providerId="ADAL" clId="{639795FD-CBE5-4A09-AF3B-B9D7C5B0CBA8}" dt="2020-05-22T03:06:17.967" v="287" actId="700"/>
          <ac:spMkLst>
            <pc:docMk/>
            <pc:sldMk cId="4047077769" sldId="1555"/>
            <ac:spMk id="6" creationId="{51320AEC-09AC-4450-9988-747E8272E170}"/>
          </ac:spMkLst>
        </pc:spChg>
      </pc:sldChg>
      <pc:sldChg chg="modSp mod modClrScheme chgLayout">
        <pc:chgData name="Batuhan Yildiz" userId="90f344fc-4655-4923-aeaf-697bba59c1a7" providerId="ADAL" clId="{639795FD-CBE5-4A09-AF3B-B9D7C5B0CBA8}" dt="2020-05-22T03:05:32.010" v="286" actId="14734"/>
        <pc:sldMkLst>
          <pc:docMk/>
          <pc:sldMk cId="4249043178" sldId="1556"/>
        </pc:sldMkLst>
        <pc:spChg chg="mod ord">
          <ac:chgData name="Batuhan Yildiz" userId="90f344fc-4655-4923-aeaf-697bba59c1a7" providerId="ADAL" clId="{639795FD-CBE5-4A09-AF3B-B9D7C5B0CBA8}" dt="2020-05-22T03:01:08.173" v="240" actId="700"/>
          <ac:spMkLst>
            <pc:docMk/>
            <pc:sldMk cId="4249043178" sldId="1556"/>
            <ac:spMk id="2" creationId="{32918756-9CF6-432F-88C2-CC2F9E03DAD9}"/>
          </ac:spMkLst>
        </pc:spChg>
        <pc:graphicFrameChg chg="mod ord modGraphic">
          <ac:chgData name="Batuhan Yildiz" userId="90f344fc-4655-4923-aeaf-697bba59c1a7" providerId="ADAL" clId="{639795FD-CBE5-4A09-AF3B-B9D7C5B0CBA8}" dt="2020-05-22T03:05:32.010" v="286" actId="14734"/>
          <ac:graphicFrameMkLst>
            <pc:docMk/>
            <pc:sldMk cId="4249043178" sldId="1556"/>
            <ac:graphicFrameMk id="4" creationId="{E04FD8F2-D16F-4837-A3F8-A4DAC5271497}"/>
          </ac:graphicFrameMkLst>
        </pc:graphicFrameChg>
      </pc:sldChg>
      <pc:sldChg chg="del">
        <pc:chgData name="Batuhan Yildiz" userId="90f344fc-4655-4923-aeaf-697bba59c1a7" providerId="ADAL" clId="{639795FD-CBE5-4A09-AF3B-B9D7C5B0CBA8}" dt="2020-05-22T21:47:59.485" v="351" actId="47"/>
        <pc:sldMkLst>
          <pc:docMk/>
          <pc:sldMk cId="4223191434" sldId="1557"/>
        </pc:sldMkLst>
      </pc:sldChg>
      <pc:sldChg chg="addSp delSp modSp new mod">
        <pc:chgData name="Batuhan Yildiz" userId="90f344fc-4655-4923-aeaf-697bba59c1a7" providerId="ADAL" clId="{639795FD-CBE5-4A09-AF3B-B9D7C5B0CBA8}" dt="2020-05-22T02:57:38.414" v="219" actId="14100"/>
        <pc:sldMkLst>
          <pc:docMk/>
          <pc:sldMk cId="2537130546" sldId="1558"/>
        </pc:sldMkLst>
        <pc:spChg chg="mod">
          <ac:chgData name="Batuhan Yildiz" userId="90f344fc-4655-4923-aeaf-697bba59c1a7" providerId="ADAL" clId="{639795FD-CBE5-4A09-AF3B-B9D7C5B0CBA8}" dt="2020-05-22T02:51:36.841" v="187"/>
          <ac:spMkLst>
            <pc:docMk/>
            <pc:sldMk cId="2537130546" sldId="1558"/>
            <ac:spMk id="2" creationId="{D8E9BB7A-6184-4050-9374-5FAC41A3F380}"/>
          </ac:spMkLst>
        </pc:spChg>
        <pc:spChg chg="del">
          <ac:chgData name="Batuhan Yildiz" userId="90f344fc-4655-4923-aeaf-697bba59c1a7" providerId="ADAL" clId="{639795FD-CBE5-4A09-AF3B-B9D7C5B0CBA8}" dt="2020-05-22T02:51:49.946" v="188"/>
          <ac:spMkLst>
            <pc:docMk/>
            <pc:sldMk cId="2537130546" sldId="1558"/>
            <ac:spMk id="3" creationId="{159D7559-BCBF-4794-8193-83D01E90154D}"/>
          </ac:spMkLst>
        </pc:spChg>
        <pc:spChg chg="add mod">
          <ac:chgData name="Batuhan Yildiz" userId="90f344fc-4655-4923-aeaf-697bba59c1a7" providerId="ADAL" clId="{639795FD-CBE5-4A09-AF3B-B9D7C5B0CBA8}" dt="2020-05-22T02:57:08.243" v="215" actId="1076"/>
          <ac:spMkLst>
            <pc:docMk/>
            <pc:sldMk cId="2537130546" sldId="1558"/>
            <ac:spMk id="5" creationId="{AD50AF2B-B0D2-48E7-9EB0-342162A40228}"/>
          </ac:spMkLst>
        </pc:spChg>
        <pc:spChg chg="add mod">
          <ac:chgData name="Batuhan Yildiz" userId="90f344fc-4655-4923-aeaf-697bba59c1a7" providerId="ADAL" clId="{639795FD-CBE5-4A09-AF3B-B9D7C5B0CBA8}" dt="2020-05-22T02:57:17.669" v="216" actId="1076"/>
          <ac:spMkLst>
            <pc:docMk/>
            <pc:sldMk cId="2537130546" sldId="1558"/>
            <ac:spMk id="6" creationId="{B09AD3BC-56C4-4D3A-985B-4FB89A7918CB}"/>
          </ac:spMkLst>
        </pc:spChg>
        <pc:spChg chg="add mod">
          <ac:chgData name="Batuhan Yildiz" userId="90f344fc-4655-4923-aeaf-697bba59c1a7" providerId="ADAL" clId="{639795FD-CBE5-4A09-AF3B-B9D7C5B0CBA8}" dt="2020-05-22T02:57:24.691" v="217" actId="1076"/>
          <ac:spMkLst>
            <pc:docMk/>
            <pc:sldMk cId="2537130546" sldId="1558"/>
            <ac:spMk id="7" creationId="{ADE3D412-6A6E-4AA2-AE75-E3A1E171AE86}"/>
          </ac:spMkLst>
        </pc:spChg>
        <pc:spChg chg="add mod">
          <ac:chgData name="Batuhan Yildiz" userId="90f344fc-4655-4923-aeaf-697bba59c1a7" providerId="ADAL" clId="{639795FD-CBE5-4A09-AF3B-B9D7C5B0CBA8}" dt="2020-05-22T02:57:31.521" v="218" actId="1076"/>
          <ac:spMkLst>
            <pc:docMk/>
            <pc:sldMk cId="2537130546" sldId="1558"/>
            <ac:spMk id="8" creationId="{0EED01DC-159D-40DC-8267-CA7F9C865DB3}"/>
          </ac:spMkLst>
        </pc:spChg>
        <pc:graphicFrameChg chg="add mod">
          <ac:chgData name="Batuhan Yildiz" userId="90f344fc-4655-4923-aeaf-697bba59c1a7" providerId="ADAL" clId="{639795FD-CBE5-4A09-AF3B-B9D7C5B0CBA8}" dt="2020-05-22T02:57:38.414" v="219" actId="14100"/>
          <ac:graphicFrameMkLst>
            <pc:docMk/>
            <pc:sldMk cId="2537130546" sldId="1558"/>
            <ac:graphicFrameMk id="4" creationId="{92500308-EDB4-4612-8E4B-9E5462088D5E}"/>
          </ac:graphicFrameMkLst>
        </pc:graphicFrameChg>
      </pc:sldChg>
      <pc:sldChg chg="modSp new mod modShow modNotesTx">
        <pc:chgData name="Batuhan Yildiz" userId="90f344fc-4655-4923-aeaf-697bba59c1a7" providerId="ADAL" clId="{639795FD-CBE5-4A09-AF3B-B9D7C5B0CBA8}" dt="2020-05-22T21:48:48.444" v="353" actId="729"/>
        <pc:sldMkLst>
          <pc:docMk/>
          <pc:sldMk cId="1986816344" sldId="1559"/>
        </pc:sldMkLst>
        <pc:spChg chg="mod">
          <ac:chgData name="Batuhan Yildiz" userId="90f344fc-4655-4923-aeaf-697bba59c1a7" providerId="ADAL" clId="{639795FD-CBE5-4A09-AF3B-B9D7C5B0CBA8}" dt="2020-05-22T21:48:38.833" v="352"/>
          <ac:spMkLst>
            <pc:docMk/>
            <pc:sldMk cId="1986816344" sldId="1559"/>
            <ac:spMk id="2" creationId="{B694E20B-318E-4F52-B26E-B47541BB6DF6}"/>
          </ac:spMkLst>
        </pc:spChg>
        <pc:spChg chg="mod">
          <ac:chgData name="Batuhan Yildiz" userId="90f344fc-4655-4923-aeaf-697bba59c1a7" providerId="ADAL" clId="{639795FD-CBE5-4A09-AF3B-B9D7C5B0CBA8}" dt="2020-05-22T21:47:41.799" v="349" actId="15"/>
          <ac:spMkLst>
            <pc:docMk/>
            <pc:sldMk cId="1986816344" sldId="1559"/>
            <ac:spMk id="3" creationId="{2EBD98A6-F85D-473E-946A-2C208E12AB51}"/>
          </ac:spMkLst>
        </pc:spChg>
      </pc:sldChg>
    </pc:docChg>
  </pc:docChgLst>
  <pc:docChgLst>
    <pc:chgData name="boB Taylor" userId="2ac94156-0040-455f-a13f-091fd330254d" providerId="ADAL" clId="{26A1CEA4-F7FC-4E2A-B607-AB5972A3BF7F}"/>
    <pc:docChg chg="custSel modSld">
      <pc:chgData name="boB Taylor" userId="2ac94156-0040-455f-a13f-091fd330254d" providerId="ADAL" clId="{26A1CEA4-F7FC-4E2A-B607-AB5972A3BF7F}" dt="2020-05-11T19:58:50.614" v="71" actId="478"/>
      <pc:docMkLst>
        <pc:docMk/>
      </pc:docMkLst>
      <pc:sldChg chg="delSp modSp mod">
        <pc:chgData name="boB Taylor" userId="2ac94156-0040-455f-a13f-091fd330254d" providerId="ADAL" clId="{26A1CEA4-F7FC-4E2A-B607-AB5972A3BF7F}" dt="2020-05-11T19:57:26.632" v="67" actId="478"/>
        <pc:sldMkLst>
          <pc:docMk/>
          <pc:sldMk cId="4221783869" sldId="566"/>
        </pc:sldMkLst>
        <pc:spChg chg="del">
          <ac:chgData name="boB Taylor" userId="2ac94156-0040-455f-a13f-091fd330254d" providerId="ADAL" clId="{26A1CEA4-F7FC-4E2A-B607-AB5972A3BF7F}" dt="2020-05-11T19:57:26.632" v="67" actId="478"/>
          <ac:spMkLst>
            <pc:docMk/>
            <pc:sldMk cId="4221783869" sldId="566"/>
            <ac:spMk id="11" creationId="{483AC303-7004-4F35-9BFF-DF5CF7228B74}"/>
          </ac:spMkLst>
        </pc:spChg>
        <pc:graphicFrameChg chg="mod">
          <ac:chgData name="boB Taylor" userId="2ac94156-0040-455f-a13f-091fd330254d" providerId="ADAL" clId="{26A1CEA4-F7FC-4E2A-B607-AB5972A3BF7F}" dt="2020-05-11T19:56:12.034" v="66" actId="255"/>
          <ac:graphicFrameMkLst>
            <pc:docMk/>
            <pc:sldMk cId="4221783869" sldId="566"/>
            <ac:graphicFrameMk id="6" creationId="{1B7981BD-EB10-4F98-B9EC-DE2E06952636}"/>
          </ac:graphicFrameMkLst>
        </pc:graphicFrameChg>
      </pc:sldChg>
      <pc:sldChg chg="modSp">
        <pc:chgData name="boB Taylor" userId="2ac94156-0040-455f-a13f-091fd330254d" providerId="ADAL" clId="{26A1CEA4-F7FC-4E2A-B607-AB5972A3BF7F}" dt="2020-05-11T19:58:50.614" v="71" actId="478"/>
        <pc:sldMkLst>
          <pc:docMk/>
          <pc:sldMk cId="4206133277" sldId="577"/>
        </pc:sldMkLst>
        <pc:graphicFrameChg chg="mod">
          <ac:chgData name="boB Taylor" userId="2ac94156-0040-455f-a13f-091fd330254d" providerId="ADAL" clId="{26A1CEA4-F7FC-4E2A-B607-AB5972A3BF7F}" dt="2020-05-11T19:58:50.614" v="71" actId="478"/>
          <ac:graphicFrameMkLst>
            <pc:docMk/>
            <pc:sldMk cId="4206133277" sldId="577"/>
            <ac:graphicFrameMk id="3" creationId="{9484E1FE-7534-495E-863C-657A46F5E628}"/>
          </ac:graphicFrameMkLst>
        </pc:graphicFrameChg>
      </pc:sldChg>
      <pc:sldChg chg="modSp">
        <pc:chgData name="boB Taylor" userId="2ac94156-0040-455f-a13f-091fd330254d" providerId="ADAL" clId="{26A1CEA4-F7FC-4E2A-B607-AB5972A3BF7F}" dt="2020-05-11T19:49:47.656" v="11"/>
        <pc:sldMkLst>
          <pc:docMk/>
          <pc:sldMk cId="3428968616" sldId="1488"/>
        </pc:sldMkLst>
        <pc:graphicFrameChg chg="mod">
          <ac:chgData name="boB Taylor" userId="2ac94156-0040-455f-a13f-091fd330254d" providerId="ADAL" clId="{26A1CEA4-F7FC-4E2A-B607-AB5972A3BF7F}" dt="2020-05-11T19:49:47.656" v="11"/>
          <ac:graphicFrameMkLst>
            <pc:docMk/>
            <pc:sldMk cId="3428968616" sldId="1488"/>
            <ac:graphicFrameMk id="5" creationId="{4C2FB1C7-81E6-4675-82E8-0DC418719D8A}"/>
          </ac:graphicFrameMkLst>
        </pc:graphicFrameChg>
      </pc:sldChg>
      <pc:sldChg chg="modSp">
        <pc:chgData name="boB Taylor" userId="2ac94156-0040-455f-a13f-091fd330254d" providerId="ADAL" clId="{26A1CEA4-F7FC-4E2A-B607-AB5972A3BF7F}" dt="2020-05-11T19:54:55.664" v="62" actId="255"/>
        <pc:sldMkLst>
          <pc:docMk/>
          <pc:sldMk cId="3843003386" sldId="1497"/>
        </pc:sldMkLst>
        <pc:graphicFrameChg chg="mod">
          <ac:chgData name="boB Taylor" userId="2ac94156-0040-455f-a13f-091fd330254d" providerId="ADAL" clId="{26A1CEA4-F7FC-4E2A-B607-AB5972A3BF7F}" dt="2020-05-11T19:54:55.664" v="62" actId="255"/>
          <ac:graphicFrameMkLst>
            <pc:docMk/>
            <pc:sldMk cId="3843003386" sldId="1497"/>
            <ac:graphicFrameMk id="5" creationId="{EC0A61B9-62BD-4E10-A7FF-0652F22B28A7}"/>
          </ac:graphicFrameMkLst>
        </pc:graphicFrameChg>
      </pc:sldChg>
      <pc:sldChg chg="modSp mod">
        <pc:chgData name="boB Taylor" userId="2ac94156-0040-455f-a13f-091fd330254d" providerId="ADAL" clId="{26A1CEA4-F7FC-4E2A-B607-AB5972A3BF7F}" dt="2020-05-11T19:58:04.336" v="68" actId="12"/>
        <pc:sldMkLst>
          <pc:docMk/>
          <pc:sldMk cId="3386092039" sldId="1545"/>
        </pc:sldMkLst>
        <pc:spChg chg="mod">
          <ac:chgData name="boB Taylor" userId="2ac94156-0040-455f-a13f-091fd330254d" providerId="ADAL" clId="{26A1CEA4-F7FC-4E2A-B607-AB5972A3BF7F}" dt="2020-05-11T19:58:04.336" v="68" actId="12"/>
          <ac:spMkLst>
            <pc:docMk/>
            <pc:sldMk cId="3386092039" sldId="1545"/>
            <ac:spMk id="6" creationId="{00000000-0000-0000-0000-000000000000}"/>
          </ac:spMkLst>
        </pc:spChg>
      </pc:sldChg>
    </pc:docChg>
  </pc:docChgLst>
  <pc:docChgLst>
    <pc:chgData name="Steve Hord" userId="7478402321db30a2" providerId="LiveId" clId="{AB734182-6567-43EF-8BAF-6226F8F7799A}"/>
    <pc:docChg chg="undo modSld">
      <pc:chgData name="Steve Hord" userId="7478402321db30a2" providerId="LiveId" clId="{AB734182-6567-43EF-8BAF-6226F8F7799A}" dt="2020-04-16T18:38:03.469" v="222" actId="255"/>
      <pc:docMkLst>
        <pc:docMk/>
      </pc:docMkLst>
      <pc:sldChg chg="modSp modNotesTx">
        <pc:chgData name="Steve Hord" userId="7478402321db30a2" providerId="LiveId" clId="{AB734182-6567-43EF-8BAF-6226F8F7799A}" dt="2020-04-15T23:52:44.404" v="57" actId="114"/>
        <pc:sldMkLst>
          <pc:docMk/>
          <pc:sldMk cId="4267675391" sldId="531"/>
        </pc:sldMkLst>
        <pc:spChg chg="mod">
          <ac:chgData name="Steve Hord" userId="7478402321db30a2" providerId="LiveId" clId="{AB734182-6567-43EF-8BAF-6226F8F7799A}" dt="2020-04-15T23:52:28.015" v="56" actId="120"/>
          <ac:spMkLst>
            <pc:docMk/>
            <pc:sldMk cId="4267675391" sldId="531"/>
            <ac:spMk id="3" creationId="{8F64A22E-2B43-4FC6-AF08-0CDB3F9E9269}"/>
          </ac:spMkLst>
        </pc:spChg>
      </pc:sldChg>
      <pc:sldChg chg="modSp">
        <pc:chgData name="Steve Hord" userId="7478402321db30a2" providerId="LiveId" clId="{AB734182-6567-43EF-8BAF-6226F8F7799A}" dt="2020-04-15T23:54:15.570" v="58" actId="255"/>
        <pc:sldMkLst>
          <pc:docMk/>
          <pc:sldMk cId="2980146838" sldId="560"/>
        </pc:sldMkLst>
        <pc:spChg chg="mod">
          <ac:chgData name="Steve Hord" userId="7478402321db30a2" providerId="LiveId" clId="{AB734182-6567-43EF-8BAF-6226F8F7799A}" dt="2020-04-15T23:54:15.570" v="58" actId="255"/>
          <ac:spMkLst>
            <pc:docMk/>
            <pc:sldMk cId="2980146838" sldId="560"/>
            <ac:spMk id="2" creationId="{4615BB0C-211A-4A6B-A4FE-D9C725309C49}"/>
          </ac:spMkLst>
        </pc:spChg>
      </pc:sldChg>
      <pc:sldChg chg="modNotesTx">
        <pc:chgData name="Steve Hord" userId="7478402321db30a2" providerId="LiveId" clId="{AB734182-6567-43EF-8BAF-6226F8F7799A}" dt="2020-04-15T23:56:45.696" v="62" actId="20577"/>
        <pc:sldMkLst>
          <pc:docMk/>
          <pc:sldMk cId="3735096506" sldId="563"/>
        </pc:sldMkLst>
      </pc:sldChg>
      <pc:sldChg chg="modSp">
        <pc:chgData name="Steve Hord" userId="7478402321db30a2" providerId="LiveId" clId="{AB734182-6567-43EF-8BAF-6226F8F7799A}" dt="2020-04-16T17:55:34.372" v="176" actId="255"/>
        <pc:sldMkLst>
          <pc:docMk/>
          <pc:sldMk cId="4221783869" sldId="566"/>
        </pc:sldMkLst>
        <pc:graphicFrameChg chg="mod">
          <ac:chgData name="Steve Hord" userId="7478402321db30a2" providerId="LiveId" clId="{AB734182-6567-43EF-8BAF-6226F8F7799A}" dt="2020-04-16T17:55:34.372" v="176" actId="255"/>
          <ac:graphicFrameMkLst>
            <pc:docMk/>
            <pc:sldMk cId="4221783869" sldId="566"/>
            <ac:graphicFrameMk id="6" creationId="{1B7981BD-EB10-4F98-B9EC-DE2E06952636}"/>
          </ac:graphicFrameMkLst>
        </pc:graphicFrameChg>
      </pc:sldChg>
      <pc:sldChg chg="modNotesTx">
        <pc:chgData name="Steve Hord" userId="7478402321db30a2" providerId="LiveId" clId="{AB734182-6567-43EF-8BAF-6226F8F7799A}" dt="2020-04-16T17:49:12.118" v="169" actId="114"/>
        <pc:sldMkLst>
          <pc:docMk/>
          <pc:sldMk cId="670385602" sldId="567"/>
        </pc:sldMkLst>
      </pc:sldChg>
      <pc:sldChg chg="modSp">
        <pc:chgData name="Steve Hord" userId="7478402321db30a2" providerId="LiveId" clId="{AB734182-6567-43EF-8BAF-6226F8F7799A}" dt="2020-04-16T17:49:28.230" v="170" actId="255"/>
        <pc:sldMkLst>
          <pc:docMk/>
          <pc:sldMk cId="1617064737" sldId="569"/>
        </pc:sldMkLst>
        <pc:spChg chg="mod">
          <ac:chgData name="Steve Hord" userId="7478402321db30a2" providerId="LiveId" clId="{AB734182-6567-43EF-8BAF-6226F8F7799A}" dt="2020-04-16T17:49:28.230" v="170" actId="255"/>
          <ac:spMkLst>
            <pc:docMk/>
            <pc:sldMk cId="1617064737" sldId="569"/>
            <ac:spMk id="2" creationId="{4615BB0C-211A-4A6B-A4FE-D9C725309C49}"/>
          </ac:spMkLst>
        </pc:spChg>
      </pc:sldChg>
      <pc:sldChg chg="modSp">
        <pc:chgData name="Steve Hord" userId="7478402321db30a2" providerId="LiveId" clId="{AB734182-6567-43EF-8BAF-6226F8F7799A}" dt="2020-04-16T17:50:56.086" v="175" actId="255"/>
        <pc:sldMkLst>
          <pc:docMk/>
          <pc:sldMk cId="2346840044" sldId="570"/>
        </pc:sldMkLst>
        <pc:graphicFrameChg chg="mod">
          <ac:chgData name="Steve Hord" userId="7478402321db30a2" providerId="LiveId" clId="{AB734182-6567-43EF-8BAF-6226F8F7799A}" dt="2020-04-16T17:50:56.086" v="175" actId="255"/>
          <ac:graphicFrameMkLst>
            <pc:docMk/>
            <pc:sldMk cId="2346840044" sldId="570"/>
            <ac:graphicFrameMk id="3" creationId="{9484E1FE-7534-495E-863C-657A46F5E628}"/>
          </ac:graphicFrameMkLst>
        </pc:graphicFrameChg>
      </pc:sldChg>
      <pc:sldChg chg="modSp">
        <pc:chgData name="Steve Hord" userId="7478402321db30a2" providerId="LiveId" clId="{AB734182-6567-43EF-8BAF-6226F8F7799A}" dt="2020-04-16T18:34:28.243" v="215" actId="255"/>
        <pc:sldMkLst>
          <pc:docMk/>
          <pc:sldMk cId="1775931326" sldId="576"/>
        </pc:sldMkLst>
        <pc:spChg chg="mod">
          <ac:chgData name="Steve Hord" userId="7478402321db30a2" providerId="LiveId" clId="{AB734182-6567-43EF-8BAF-6226F8F7799A}" dt="2020-04-16T18:34:28.243" v="215" actId="255"/>
          <ac:spMkLst>
            <pc:docMk/>
            <pc:sldMk cId="1775931326" sldId="576"/>
            <ac:spMk id="2" creationId="{4615BB0C-211A-4A6B-A4FE-D9C725309C49}"/>
          </ac:spMkLst>
        </pc:spChg>
      </pc:sldChg>
      <pc:sldChg chg="modSp">
        <pc:chgData name="Steve Hord" userId="7478402321db30a2" providerId="LiveId" clId="{AB734182-6567-43EF-8BAF-6226F8F7799A}" dt="2020-04-16T18:38:03.469" v="222" actId="255"/>
        <pc:sldMkLst>
          <pc:docMk/>
          <pc:sldMk cId="4206133277" sldId="577"/>
        </pc:sldMkLst>
        <pc:graphicFrameChg chg="mod">
          <ac:chgData name="Steve Hord" userId="7478402321db30a2" providerId="LiveId" clId="{AB734182-6567-43EF-8BAF-6226F8F7799A}" dt="2020-04-16T18:38:03.469" v="222" actId="255"/>
          <ac:graphicFrameMkLst>
            <pc:docMk/>
            <pc:sldMk cId="4206133277" sldId="577"/>
            <ac:graphicFrameMk id="3" creationId="{9484E1FE-7534-495E-863C-657A46F5E628}"/>
          </ac:graphicFrameMkLst>
        </pc:graphicFrameChg>
      </pc:sldChg>
      <pc:sldChg chg="modNotesTx">
        <pc:chgData name="Steve Hord" userId="7478402321db30a2" providerId="LiveId" clId="{AB734182-6567-43EF-8BAF-6226F8F7799A}" dt="2020-04-15T22:46:49.341" v="2" actId="6549"/>
        <pc:sldMkLst>
          <pc:docMk/>
          <pc:sldMk cId="2911105687" sldId="1467"/>
        </pc:sldMkLst>
      </pc:sldChg>
      <pc:sldChg chg="modSp modNotesTx">
        <pc:chgData name="Steve Hord" userId="7478402321db30a2" providerId="LiveId" clId="{AB734182-6567-43EF-8BAF-6226F8F7799A}" dt="2020-04-15T22:54:56.396" v="9" actId="2711"/>
        <pc:sldMkLst>
          <pc:docMk/>
          <pc:sldMk cId="1663681182" sldId="1468"/>
        </pc:sldMkLst>
        <pc:spChg chg="mod">
          <ac:chgData name="Steve Hord" userId="7478402321db30a2" providerId="LiveId" clId="{AB734182-6567-43EF-8BAF-6226F8F7799A}" dt="2020-04-15T22:49:21.730" v="7" actId="20577"/>
          <ac:spMkLst>
            <pc:docMk/>
            <pc:sldMk cId="1663681182" sldId="1468"/>
            <ac:spMk id="2" creationId="{00000000-0000-0000-0000-000000000000}"/>
          </ac:spMkLst>
        </pc:spChg>
      </pc:sldChg>
      <pc:sldChg chg="modNotesTx">
        <pc:chgData name="Steve Hord" userId="7478402321db30a2" providerId="LiveId" clId="{AB734182-6567-43EF-8BAF-6226F8F7799A}" dt="2020-04-15T23:05:40.918" v="23" actId="6549"/>
        <pc:sldMkLst>
          <pc:docMk/>
          <pc:sldMk cId="3746777708" sldId="1469"/>
        </pc:sldMkLst>
      </pc:sldChg>
      <pc:sldChg chg="modNotesTx">
        <pc:chgData name="Steve Hord" userId="7478402321db30a2" providerId="LiveId" clId="{AB734182-6567-43EF-8BAF-6226F8F7799A}" dt="2020-04-15T23:37:51.789" v="27" actId="6549"/>
        <pc:sldMkLst>
          <pc:docMk/>
          <pc:sldMk cId="2393123992" sldId="1470"/>
        </pc:sldMkLst>
      </pc:sldChg>
      <pc:sldChg chg="modSp modNotesTx">
        <pc:chgData name="Steve Hord" userId="7478402321db30a2" providerId="LiveId" clId="{AB734182-6567-43EF-8BAF-6226F8F7799A}" dt="2020-04-15T23:41:36.702" v="37" actId="6549"/>
        <pc:sldMkLst>
          <pc:docMk/>
          <pc:sldMk cId="603308621" sldId="1471"/>
        </pc:sldMkLst>
        <pc:graphicFrameChg chg="mod">
          <ac:chgData name="Steve Hord" userId="7478402321db30a2" providerId="LiveId" clId="{AB734182-6567-43EF-8BAF-6226F8F7799A}" dt="2020-04-15T23:39:52.429" v="34" actId="20577"/>
          <ac:graphicFrameMkLst>
            <pc:docMk/>
            <pc:sldMk cId="603308621" sldId="1471"/>
            <ac:graphicFrameMk id="4" creationId="{189033D4-A238-4C13-9474-186E15C93319}"/>
          </ac:graphicFrameMkLst>
        </pc:graphicFrameChg>
      </pc:sldChg>
      <pc:sldChg chg="modSp modNotesTx">
        <pc:chgData name="Steve Hord" userId="7478402321db30a2" providerId="LiveId" clId="{AB734182-6567-43EF-8BAF-6226F8F7799A}" dt="2020-04-16T00:11:04.982" v="84" actId="20577"/>
        <pc:sldMkLst>
          <pc:docMk/>
          <pc:sldMk cId="3210956343" sldId="1477"/>
        </pc:sldMkLst>
        <pc:graphicFrameChg chg="mod">
          <ac:chgData name="Steve Hord" userId="7478402321db30a2" providerId="LiveId" clId="{AB734182-6567-43EF-8BAF-6226F8F7799A}" dt="2020-04-16T00:06:30.060" v="70" actId="255"/>
          <ac:graphicFrameMkLst>
            <pc:docMk/>
            <pc:sldMk cId="3210956343" sldId="1477"/>
            <ac:graphicFrameMk id="9" creationId="{00000000-0000-0000-0000-000000000000}"/>
          </ac:graphicFrameMkLst>
        </pc:graphicFrameChg>
      </pc:sldChg>
      <pc:sldChg chg="modSp modNotesTx">
        <pc:chgData name="Steve Hord" userId="7478402321db30a2" providerId="LiveId" clId="{AB734182-6567-43EF-8BAF-6226F8F7799A}" dt="2020-04-16T00:15:02.544" v="94" actId="20577"/>
        <pc:sldMkLst>
          <pc:docMk/>
          <pc:sldMk cId="2885101488" sldId="1478"/>
        </pc:sldMkLst>
        <pc:graphicFrameChg chg="mod">
          <ac:chgData name="Steve Hord" userId="7478402321db30a2" providerId="LiveId" clId="{AB734182-6567-43EF-8BAF-6226F8F7799A}" dt="2020-04-16T00:14:06.241" v="92" actId="255"/>
          <ac:graphicFrameMkLst>
            <pc:docMk/>
            <pc:sldMk cId="2885101488" sldId="1478"/>
            <ac:graphicFrameMk id="7" creationId="{00000000-0000-0000-0000-000000000000}"/>
          </ac:graphicFrameMkLst>
        </pc:graphicFrameChg>
      </pc:sldChg>
      <pc:sldChg chg="modSp">
        <pc:chgData name="Steve Hord" userId="7478402321db30a2" providerId="LiveId" clId="{AB734182-6567-43EF-8BAF-6226F8F7799A}" dt="2020-04-16T17:26:28.037" v="139" actId="255"/>
        <pc:sldMkLst>
          <pc:docMk/>
          <pc:sldMk cId="1679095288" sldId="1479"/>
        </pc:sldMkLst>
        <pc:graphicFrameChg chg="mod">
          <ac:chgData name="Steve Hord" userId="7478402321db30a2" providerId="LiveId" clId="{AB734182-6567-43EF-8BAF-6226F8F7799A}" dt="2020-04-16T17:26:28.037" v="139" actId="255"/>
          <ac:graphicFrameMkLst>
            <pc:docMk/>
            <pc:sldMk cId="1679095288" sldId="1479"/>
            <ac:graphicFrameMk id="5" creationId="{00000000-0000-0000-0000-000000000000}"/>
          </ac:graphicFrameMkLst>
        </pc:graphicFrameChg>
      </pc:sldChg>
      <pc:sldChg chg="modSp modNotesTx">
        <pc:chgData name="Steve Hord" userId="7478402321db30a2" providerId="LiveId" clId="{AB734182-6567-43EF-8BAF-6226F8F7799A}" dt="2020-04-16T17:27:44.949" v="143" actId="255"/>
        <pc:sldMkLst>
          <pc:docMk/>
          <pc:sldMk cId="198702297" sldId="1480"/>
        </pc:sldMkLst>
        <pc:graphicFrameChg chg="mod">
          <ac:chgData name="Steve Hord" userId="7478402321db30a2" providerId="LiveId" clId="{AB734182-6567-43EF-8BAF-6226F8F7799A}" dt="2020-04-16T17:27:44.949" v="143" actId="255"/>
          <ac:graphicFrameMkLst>
            <pc:docMk/>
            <pc:sldMk cId="198702297" sldId="1480"/>
            <ac:graphicFrameMk id="5" creationId="{00000000-0000-0000-0000-000000000000}"/>
          </ac:graphicFrameMkLst>
        </pc:graphicFrameChg>
      </pc:sldChg>
      <pc:sldChg chg="modSp">
        <pc:chgData name="Steve Hord" userId="7478402321db30a2" providerId="LiveId" clId="{AB734182-6567-43EF-8BAF-6226F8F7799A}" dt="2020-04-15T23:43:28.880" v="43" actId="20577"/>
        <pc:sldMkLst>
          <pc:docMk/>
          <pc:sldMk cId="546599734" sldId="1483"/>
        </pc:sldMkLst>
        <pc:graphicFrameChg chg="mod">
          <ac:chgData name="Steve Hord" userId="7478402321db30a2" providerId="LiveId" clId="{AB734182-6567-43EF-8BAF-6226F8F7799A}" dt="2020-04-15T23:43:28.880" v="43" actId="20577"/>
          <ac:graphicFrameMkLst>
            <pc:docMk/>
            <pc:sldMk cId="546599734" sldId="1483"/>
            <ac:graphicFrameMk id="5" creationId="{2B8D15A4-A9CD-4E36-8BA2-3949D87EDA4A}"/>
          </ac:graphicFrameMkLst>
        </pc:graphicFrameChg>
      </pc:sldChg>
      <pc:sldChg chg="modSp">
        <pc:chgData name="Steve Hord" userId="7478402321db30a2" providerId="LiveId" clId="{AB734182-6567-43EF-8BAF-6226F8F7799A}" dt="2020-04-15T23:50:40.296" v="55" actId="14100"/>
        <pc:sldMkLst>
          <pc:docMk/>
          <pc:sldMk cId="4070079541" sldId="1484"/>
        </pc:sldMkLst>
        <pc:spChg chg="mod">
          <ac:chgData name="Steve Hord" userId="7478402321db30a2" providerId="LiveId" clId="{AB734182-6567-43EF-8BAF-6226F8F7799A}" dt="2020-04-15T23:50:40.296" v="55" actId="14100"/>
          <ac:spMkLst>
            <pc:docMk/>
            <pc:sldMk cId="4070079541" sldId="1484"/>
            <ac:spMk id="192" creationId="{D30975BC-1E21-4F9D-A69E-B2EF83E16986}"/>
          </ac:spMkLst>
        </pc:spChg>
      </pc:sldChg>
      <pc:sldChg chg="modSp modNotesTx">
        <pc:chgData name="Steve Hord" userId="7478402321db30a2" providerId="LiveId" clId="{AB734182-6567-43EF-8BAF-6226F8F7799A}" dt="2020-04-15T23:49:39.493" v="53" actId="20577"/>
        <pc:sldMkLst>
          <pc:docMk/>
          <pc:sldMk cId="4013436323" sldId="1485"/>
        </pc:sldMkLst>
        <pc:graphicFrameChg chg="mod">
          <ac:chgData name="Steve Hord" userId="7478402321db30a2" providerId="LiveId" clId="{AB734182-6567-43EF-8BAF-6226F8F7799A}" dt="2020-04-15T23:46:13.666" v="46" actId="255"/>
          <ac:graphicFrameMkLst>
            <pc:docMk/>
            <pc:sldMk cId="4013436323" sldId="1485"/>
            <ac:graphicFrameMk id="5" creationId="{24C141A8-B763-4536-9DBA-E7ADC8E4A627}"/>
          </ac:graphicFrameMkLst>
        </pc:graphicFrameChg>
      </pc:sldChg>
      <pc:sldChg chg="modSp">
        <pc:chgData name="Steve Hord" userId="7478402321db30a2" providerId="LiveId" clId="{AB734182-6567-43EF-8BAF-6226F8F7799A}" dt="2020-04-16T17:24:06.934" v="135" actId="255"/>
        <pc:sldMkLst>
          <pc:docMk/>
          <pc:sldMk cId="3428968616" sldId="1488"/>
        </pc:sldMkLst>
        <pc:graphicFrameChg chg="mod">
          <ac:chgData name="Steve Hord" userId="7478402321db30a2" providerId="LiveId" clId="{AB734182-6567-43EF-8BAF-6226F8F7799A}" dt="2020-04-16T17:24:06.934" v="135" actId="255"/>
          <ac:graphicFrameMkLst>
            <pc:docMk/>
            <pc:sldMk cId="3428968616" sldId="1488"/>
            <ac:graphicFrameMk id="5" creationId="{4C2FB1C7-81E6-4675-82E8-0DC418719D8A}"/>
          </ac:graphicFrameMkLst>
        </pc:graphicFrameChg>
      </pc:sldChg>
      <pc:sldChg chg="modSp">
        <pc:chgData name="Steve Hord" userId="7478402321db30a2" providerId="LiveId" clId="{AB734182-6567-43EF-8BAF-6226F8F7799A}" dt="2020-04-16T17:32:19.783" v="150" actId="20577"/>
        <pc:sldMkLst>
          <pc:docMk/>
          <pc:sldMk cId="3449137331" sldId="1491"/>
        </pc:sldMkLst>
        <pc:spChg chg="mod">
          <ac:chgData name="Steve Hord" userId="7478402321db30a2" providerId="LiveId" clId="{AB734182-6567-43EF-8BAF-6226F8F7799A}" dt="2020-04-16T17:30:47.255" v="147" actId="255"/>
          <ac:spMkLst>
            <pc:docMk/>
            <pc:sldMk cId="3449137331" sldId="1491"/>
            <ac:spMk id="6" creationId="{7B6DB045-2D3F-4629-B113-1BCF5A4A4B4E}"/>
          </ac:spMkLst>
        </pc:spChg>
        <pc:graphicFrameChg chg="mod">
          <ac:chgData name="Steve Hord" userId="7478402321db30a2" providerId="LiveId" clId="{AB734182-6567-43EF-8BAF-6226F8F7799A}" dt="2020-04-16T17:32:19.783" v="150" actId="20577"/>
          <ac:graphicFrameMkLst>
            <pc:docMk/>
            <pc:sldMk cId="3449137331" sldId="1491"/>
            <ac:graphicFrameMk id="10" creationId="{493C92E9-3A60-4AA4-91F9-9B5ECF55B3A6}"/>
          </ac:graphicFrameMkLst>
        </pc:graphicFrameChg>
      </pc:sldChg>
      <pc:sldChg chg="modSp">
        <pc:chgData name="Steve Hord" userId="7478402321db30a2" providerId="LiveId" clId="{AB734182-6567-43EF-8BAF-6226F8F7799A}" dt="2020-04-16T17:38:50.325" v="156" actId="20577"/>
        <pc:sldMkLst>
          <pc:docMk/>
          <pc:sldMk cId="3843003386" sldId="1497"/>
        </pc:sldMkLst>
        <pc:graphicFrameChg chg="mod">
          <ac:chgData name="Steve Hord" userId="7478402321db30a2" providerId="LiveId" clId="{AB734182-6567-43EF-8BAF-6226F8F7799A}" dt="2020-04-16T17:38:50.325" v="156" actId="20577"/>
          <ac:graphicFrameMkLst>
            <pc:docMk/>
            <pc:sldMk cId="3843003386" sldId="1497"/>
            <ac:graphicFrameMk id="5" creationId="{EC0A61B9-62BD-4E10-A7FF-0652F22B28A7}"/>
          </ac:graphicFrameMkLst>
        </pc:graphicFrameChg>
      </pc:sldChg>
      <pc:sldChg chg="modNotesTx">
        <pc:chgData name="Steve Hord" userId="7478402321db30a2" providerId="LiveId" clId="{AB734182-6567-43EF-8BAF-6226F8F7799A}" dt="2020-04-16T00:05:05.656" v="68" actId="6549"/>
        <pc:sldMkLst>
          <pc:docMk/>
          <pc:sldMk cId="2726270886" sldId="1504"/>
        </pc:sldMkLst>
      </pc:sldChg>
      <pc:sldChg chg="modSp">
        <pc:chgData name="Steve Hord" userId="7478402321db30a2" providerId="LiveId" clId="{AB734182-6567-43EF-8BAF-6226F8F7799A}" dt="2020-04-16T17:14:41.184" v="122" actId="255"/>
        <pc:sldMkLst>
          <pc:docMk/>
          <pc:sldMk cId="3352402564" sldId="1505"/>
        </pc:sldMkLst>
        <pc:graphicFrameChg chg="mod">
          <ac:chgData name="Steve Hord" userId="7478402321db30a2" providerId="LiveId" clId="{AB734182-6567-43EF-8BAF-6226F8F7799A}" dt="2020-04-16T17:14:41.184" v="122" actId="255"/>
          <ac:graphicFrameMkLst>
            <pc:docMk/>
            <pc:sldMk cId="3352402564" sldId="1505"/>
            <ac:graphicFrameMk id="8" creationId="{AC5A768D-974A-4D39-8DDF-DE915605D62D}"/>
          </ac:graphicFrameMkLst>
        </pc:graphicFrameChg>
      </pc:sldChg>
      <pc:sldChg chg="modSp">
        <pc:chgData name="Steve Hord" userId="7478402321db30a2" providerId="LiveId" clId="{AB734182-6567-43EF-8BAF-6226F8F7799A}" dt="2020-04-16T17:17:26.231" v="130" actId="20577"/>
        <pc:sldMkLst>
          <pc:docMk/>
          <pc:sldMk cId="4174331227" sldId="1506"/>
        </pc:sldMkLst>
        <pc:graphicFrameChg chg="mod">
          <ac:chgData name="Steve Hord" userId="7478402321db30a2" providerId="LiveId" clId="{AB734182-6567-43EF-8BAF-6226F8F7799A}" dt="2020-04-16T17:17:26.231" v="130" actId="20577"/>
          <ac:graphicFrameMkLst>
            <pc:docMk/>
            <pc:sldMk cId="4174331227" sldId="1506"/>
            <ac:graphicFrameMk id="3" creationId="{D3196DDF-F669-4702-A8B2-436990216CE7}"/>
          </ac:graphicFrameMkLst>
        </pc:graphicFrameChg>
      </pc:sldChg>
      <pc:sldChg chg="modSp modNotesTx">
        <pc:chgData name="Steve Hord" userId="7478402321db30a2" providerId="LiveId" clId="{AB734182-6567-43EF-8BAF-6226F8F7799A}" dt="2020-04-16T17:47:48.516" v="168" actId="6549"/>
        <pc:sldMkLst>
          <pc:docMk/>
          <pc:sldMk cId="3223002142" sldId="1518"/>
        </pc:sldMkLst>
        <pc:graphicFrameChg chg="mod">
          <ac:chgData name="Steve Hord" userId="7478402321db30a2" providerId="LiveId" clId="{AB734182-6567-43EF-8BAF-6226F8F7799A}" dt="2020-04-16T17:42:42.943" v="160" actId="20577"/>
          <ac:graphicFrameMkLst>
            <pc:docMk/>
            <pc:sldMk cId="3223002142" sldId="1518"/>
            <ac:graphicFrameMk id="5" creationId="{F3F9DE9E-E785-41FE-AA70-FB4CEF8BFF20}"/>
          </ac:graphicFrameMkLst>
        </pc:graphicFrameChg>
      </pc:sldChg>
      <pc:sldChg chg="modSp">
        <pc:chgData name="Steve Hord" userId="7478402321db30a2" providerId="LiveId" clId="{AB734182-6567-43EF-8BAF-6226F8F7799A}" dt="2020-04-16T00:29:53.295" v="110" actId="255"/>
        <pc:sldMkLst>
          <pc:docMk/>
          <pc:sldMk cId="917702128" sldId="1519"/>
        </pc:sldMkLst>
        <pc:graphicFrameChg chg="mod">
          <ac:chgData name="Steve Hord" userId="7478402321db30a2" providerId="LiveId" clId="{AB734182-6567-43EF-8BAF-6226F8F7799A}" dt="2020-04-16T00:29:53.295" v="110" actId="255"/>
          <ac:graphicFrameMkLst>
            <pc:docMk/>
            <pc:sldMk cId="917702128" sldId="1519"/>
            <ac:graphicFrameMk id="6" creationId="{6A5A6F88-EE31-4C94-8D7C-96D61DCA556C}"/>
          </ac:graphicFrameMkLst>
        </pc:graphicFrameChg>
      </pc:sldChg>
      <pc:sldChg chg="modSp">
        <pc:chgData name="Steve Hord" userId="7478402321db30a2" providerId="LiveId" clId="{AB734182-6567-43EF-8BAF-6226F8F7799A}" dt="2020-04-16T00:34:15.841" v="113" actId="14100"/>
        <pc:sldMkLst>
          <pc:docMk/>
          <pc:sldMk cId="2611493337" sldId="1520"/>
        </pc:sldMkLst>
        <pc:graphicFrameChg chg="mod">
          <ac:chgData name="Steve Hord" userId="7478402321db30a2" providerId="LiveId" clId="{AB734182-6567-43EF-8BAF-6226F8F7799A}" dt="2020-04-16T00:34:15.841" v="113" actId="14100"/>
          <ac:graphicFrameMkLst>
            <pc:docMk/>
            <pc:sldMk cId="2611493337" sldId="1520"/>
            <ac:graphicFrameMk id="9" creationId="{285ACD90-4B61-4456-BF91-362E7AD3E58F}"/>
          </ac:graphicFrameMkLst>
        </pc:graphicFrameChg>
      </pc:sldChg>
      <pc:sldChg chg="modNotesTx">
        <pc:chgData name="Steve Hord" userId="7478402321db30a2" providerId="LiveId" clId="{AB734182-6567-43EF-8BAF-6226F8F7799A}" dt="2020-04-16T18:03:58.813" v="194" actId="20577"/>
        <pc:sldMkLst>
          <pc:docMk/>
          <pc:sldMk cId="3386092039" sldId="1545"/>
        </pc:sldMkLst>
      </pc:sldChg>
      <pc:sldChg chg="modSp">
        <pc:chgData name="Steve Hord" userId="7478402321db30a2" providerId="LiveId" clId="{AB734182-6567-43EF-8BAF-6226F8F7799A}" dt="2020-04-16T18:05:08.069" v="195" actId="255"/>
        <pc:sldMkLst>
          <pc:docMk/>
          <pc:sldMk cId="677664238" sldId="1547"/>
        </pc:sldMkLst>
        <pc:spChg chg="mod">
          <ac:chgData name="Steve Hord" userId="7478402321db30a2" providerId="LiveId" clId="{AB734182-6567-43EF-8BAF-6226F8F7799A}" dt="2020-04-16T18:05:08.069" v="195" actId="255"/>
          <ac:spMkLst>
            <pc:docMk/>
            <pc:sldMk cId="677664238" sldId="1547"/>
            <ac:spMk id="2" creationId="{B402D06C-7FD7-4836-86C5-8DBCD68FF0FD}"/>
          </ac:spMkLst>
        </pc:spChg>
      </pc:sldChg>
      <pc:sldChg chg="modSp">
        <pc:chgData name="Steve Hord" userId="7478402321db30a2" providerId="LiveId" clId="{AB734182-6567-43EF-8BAF-6226F8F7799A}" dt="2020-04-16T18:28:10.760" v="208" actId="1076"/>
        <pc:sldMkLst>
          <pc:docMk/>
          <pc:sldMk cId="3946343017" sldId="1548"/>
        </pc:sldMkLst>
        <pc:graphicFrameChg chg="mod">
          <ac:chgData name="Steve Hord" userId="7478402321db30a2" providerId="LiveId" clId="{AB734182-6567-43EF-8BAF-6226F8F7799A}" dt="2020-04-16T18:28:10.760" v="208" actId="1076"/>
          <ac:graphicFrameMkLst>
            <pc:docMk/>
            <pc:sldMk cId="3946343017" sldId="1548"/>
            <ac:graphicFrameMk id="4" creationId="{BD44B0EB-130B-439F-8D66-62176288D456}"/>
          </ac:graphicFrameMkLst>
        </pc:graphicFrameChg>
      </pc:sldChg>
      <pc:sldChg chg="modSp">
        <pc:chgData name="Steve Hord" userId="7478402321db30a2" providerId="LiveId" clId="{AB734182-6567-43EF-8BAF-6226F8F7799A}" dt="2020-04-16T18:29:06.512" v="211" actId="20577"/>
        <pc:sldMkLst>
          <pc:docMk/>
          <pc:sldMk cId="2746168451" sldId="1549"/>
        </pc:sldMkLst>
        <pc:graphicFrameChg chg="mod">
          <ac:chgData name="Steve Hord" userId="7478402321db30a2" providerId="LiveId" clId="{AB734182-6567-43EF-8BAF-6226F8F7799A}" dt="2020-04-16T18:29:06.512" v="211" actId="20577"/>
          <ac:graphicFrameMkLst>
            <pc:docMk/>
            <pc:sldMk cId="2746168451" sldId="1549"/>
            <ac:graphicFrameMk id="5" creationId="{0E50C9B5-4217-4674-92C8-0F785D28BAF0}"/>
          </ac:graphicFrameMkLst>
        </pc:graphicFrameChg>
      </pc:sldChg>
      <pc:sldChg chg="modSp">
        <pc:chgData name="Steve Hord" userId="7478402321db30a2" providerId="LiveId" clId="{AB734182-6567-43EF-8BAF-6226F8F7799A}" dt="2020-04-16T18:31:29.657" v="213" actId="255"/>
        <pc:sldMkLst>
          <pc:docMk/>
          <pc:sldMk cId="151394656" sldId="1554"/>
        </pc:sldMkLst>
        <pc:graphicFrameChg chg="mod">
          <ac:chgData name="Steve Hord" userId="7478402321db30a2" providerId="LiveId" clId="{AB734182-6567-43EF-8BAF-6226F8F7799A}" dt="2020-04-16T18:31:29.657" v="213" actId="255"/>
          <ac:graphicFrameMkLst>
            <pc:docMk/>
            <pc:sldMk cId="151394656" sldId="1554"/>
            <ac:graphicFrameMk id="5" creationId="{3958073A-4FC5-40EC-9503-F4CADB69BBCC}"/>
          </ac:graphicFrameMkLst>
        </pc:graphicFrameChg>
      </pc:sldChg>
      <pc:sldChg chg="modSp">
        <pc:chgData name="Steve Hord" userId="7478402321db30a2" providerId="LiveId" clId="{AB734182-6567-43EF-8BAF-6226F8F7799A}" dt="2020-04-16T18:32:38.783" v="214" actId="20577"/>
        <pc:sldMkLst>
          <pc:docMk/>
          <pc:sldMk cId="4047077769" sldId="1555"/>
        </pc:sldMkLst>
        <pc:spChg chg="mod">
          <ac:chgData name="Steve Hord" userId="7478402321db30a2" providerId="LiveId" clId="{AB734182-6567-43EF-8BAF-6226F8F7799A}" dt="2020-04-16T18:32:38.783" v="214" actId="20577"/>
          <ac:spMkLst>
            <pc:docMk/>
            <pc:sldMk cId="4047077769" sldId="1555"/>
            <ac:spMk id="6" creationId="{51320AEC-09AC-4450-9988-747E8272E170}"/>
          </ac:spMkLst>
        </pc:spChg>
      </pc:sldChg>
      <pc:sldChg chg="modSp modNotesTx">
        <pc:chgData name="Steve Hord" userId="7478402321db30a2" providerId="LiveId" clId="{AB734182-6567-43EF-8BAF-6226F8F7799A}" dt="2020-04-16T18:27:10.530" v="206" actId="20577"/>
        <pc:sldMkLst>
          <pc:docMk/>
          <pc:sldMk cId="4249043178" sldId="1556"/>
        </pc:sldMkLst>
        <pc:graphicFrameChg chg="mod modGraphic">
          <ac:chgData name="Steve Hord" userId="7478402321db30a2" providerId="LiveId" clId="{AB734182-6567-43EF-8BAF-6226F8F7799A}" dt="2020-04-16T18:08:17.091" v="205" actId="255"/>
          <ac:graphicFrameMkLst>
            <pc:docMk/>
            <pc:sldMk cId="4249043178" sldId="1556"/>
            <ac:graphicFrameMk id="4" creationId="{E04FD8F2-D16F-4837-A3F8-A4DAC5271497}"/>
          </ac:graphicFrameMkLst>
        </pc:graphicFrameChg>
      </pc:sldChg>
    </pc:docChg>
  </pc:docChgLst>
  <pc:docChgLst>
    <pc:chgData name="John Deardurff" userId="a22eae058e899168" providerId="LiveId" clId="{8AF351E1-0D00-4FDD-A06E-620FAEFCC65E}"/>
    <pc:docChg chg="modSld">
      <pc:chgData name="John Deardurff" userId="a22eae058e899168" providerId="LiveId" clId="{8AF351E1-0D00-4FDD-A06E-620FAEFCC65E}" dt="2024-01-29T19:42:34.845" v="30" actId="20577"/>
      <pc:docMkLst>
        <pc:docMk/>
      </pc:docMkLst>
      <pc:sldChg chg="modSp">
        <pc:chgData name="John Deardurff" userId="a22eae058e899168" providerId="LiveId" clId="{8AF351E1-0D00-4FDD-A06E-620FAEFCC65E}" dt="2024-01-29T19:42:34.845" v="30" actId="20577"/>
        <pc:sldMkLst>
          <pc:docMk/>
          <pc:sldMk cId="3817317195" sldId="613"/>
        </pc:sldMkLst>
        <pc:graphicFrameChg chg="mod">
          <ac:chgData name="John Deardurff" userId="a22eae058e899168" providerId="LiveId" clId="{8AF351E1-0D00-4FDD-A06E-620FAEFCC65E}" dt="2024-01-29T19:42:34.845" v="30" actId="20577"/>
          <ac:graphicFrameMkLst>
            <pc:docMk/>
            <pc:sldMk cId="3817317195" sldId="613"/>
            <ac:graphicFrameMk id="5" creationId="{2D2E8373-AAFD-4F7A-9F0A-6228B1ACA3C8}"/>
          </ac:graphicFrameMkLst>
        </pc:graphicFrameChg>
      </pc:sldChg>
    </pc:docChg>
  </pc:docChgLst>
  <pc:docChgLst>
    <pc:chgData name="Batuhan Yildiz" userId="90f344fc-4655-4923-aeaf-697bba59c1a7" providerId="ADAL" clId="{C3A18877-64E2-4FCA-9CAE-B00D9DDF784F}"/>
    <pc:docChg chg="delSld modSld modSection">
      <pc:chgData name="Batuhan Yildiz" userId="90f344fc-4655-4923-aeaf-697bba59c1a7" providerId="ADAL" clId="{C3A18877-64E2-4FCA-9CAE-B00D9DDF784F}" dt="2020-06-15T23:28:30.408" v="1" actId="47"/>
      <pc:docMkLst>
        <pc:docMk/>
      </pc:docMkLst>
      <pc:sldChg chg="del">
        <pc:chgData name="Batuhan Yildiz" userId="90f344fc-4655-4923-aeaf-697bba59c1a7" providerId="ADAL" clId="{C3A18877-64E2-4FCA-9CAE-B00D9DDF784F}" dt="2020-06-15T23:28:30.408" v="1" actId="47"/>
        <pc:sldMkLst>
          <pc:docMk/>
          <pc:sldMk cId="3428968616" sldId="1488"/>
        </pc:sldMkLst>
      </pc:sldChg>
      <pc:sldChg chg="modNotesTx">
        <pc:chgData name="Batuhan Yildiz" userId="90f344fc-4655-4923-aeaf-697bba59c1a7" providerId="ADAL" clId="{C3A18877-64E2-4FCA-9CAE-B00D9DDF784F}" dt="2020-06-15T23:24:58.237" v="0"/>
        <pc:sldMkLst>
          <pc:docMk/>
          <pc:sldMk cId="2537130546" sldId="1558"/>
        </pc:sldMkLst>
      </pc:sldChg>
    </pc:docChg>
  </pc:docChgLst>
  <pc:docChgLst>
    <pc:chgData name="Sam Mesel" userId="1ee7badb-5d1f-4872-89ae-dcf7b71f276a" providerId="ADAL" clId="{EEA38070-6794-41D2-BF8A-0742E5EDBF80}"/>
    <pc:docChg chg="undo custSel mod addSld delSld modSld modSection">
      <pc:chgData name="Sam Mesel" userId="1ee7badb-5d1f-4872-89ae-dcf7b71f276a" providerId="ADAL" clId="{EEA38070-6794-41D2-BF8A-0742E5EDBF80}" dt="2020-03-20T19:20:13.206" v="944" actId="108"/>
      <pc:docMkLst>
        <pc:docMk/>
      </pc:docMkLst>
      <pc:sldChg chg="modNotesTx">
        <pc:chgData name="Sam Mesel" userId="1ee7badb-5d1f-4872-89ae-dcf7b71f276a" providerId="ADAL" clId="{EEA38070-6794-41D2-BF8A-0742E5EDBF80}" dt="2020-03-18T19:07:39.401" v="929" actId="6549"/>
        <pc:sldMkLst>
          <pc:docMk/>
          <pc:sldMk cId="2346840044" sldId="570"/>
        </pc:sldMkLst>
      </pc:sldChg>
      <pc:sldChg chg="modSp mod">
        <pc:chgData name="Sam Mesel" userId="1ee7badb-5d1f-4872-89ae-dcf7b71f276a" providerId="ADAL" clId="{EEA38070-6794-41D2-BF8A-0742E5EDBF80}" dt="2020-03-20T19:20:13.206" v="944" actId="108"/>
        <pc:sldMkLst>
          <pc:docMk/>
          <pc:sldMk cId="3563492871" sldId="575"/>
        </pc:sldMkLst>
        <pc:spChg chg="mod">
          <ac:chgData name="Sam Mesel" userId="1ee7badb-5d1f-4872-89ae-dcf7b71f276a" providerId="ADAL" clId="{EEA38070-6794-41D2-BF8A-0742E5EDBF80}" dt="2020-03-20T19:20:13.206" v="944" actId="108"/>
          <ac:spMkLst>
            <pc:docMk/>
            <pc:sldMk cId="3563492871" sldId="575"/>
            <ac:spMk id="2" creationId="{BC57B38C-8413-4861-A4F5-7DF656AEAD0D}"/>
          </ac:spMkLst>
        </pc:spChg>
      </pc:sldChg>
      <pc:sldChg chg="addSp delSp modSp mod modShow modNotesTx">
        <pc:chgData name="Sam Mesel" userId="1ee7badb-5d1f-4872-89ae-dcf7b71f276a" providerId="ADAL" clId="{EEA38070-6794-41D2-BF8A-0742E5EDBF80}" dt="2020-03-03T19:49:07.611" v="792" actId="20577"/>
        <pc:sldMkLst>
          <pc:docMk/>
          <pc:sldMk cId="1663681182" sldId="1468"/>
        </pc:sldMkLst>
        <pc:spChg chg="mod">
          <ac:chgData name="Sam Mesel" userId="1ee7badb-5d1f-4872-89ae-dcf7b71f276a" providerId="ADAL" clId="{EEA38070-6794-41D2-BF8A-0742E5EDBF80}" dt="2020-03-03T02:54:17.304" v="69" actId="108"/>
          <ac:spMkLst>
            <pc:docMk/>
            <pc:sldMk cId="1663681182" sldId="1468"/>
            <ac:spMk id="2" creationId="{00000000-0000-0000-0000-000000000000}"/>
          </ac:spMkLst>
        </pc:spChg>
        <pc:grpChg chg="del mod">
          <ac:chgData name="Sam Mesel" userId="1ee7badb-5d1f-4872-89ae-dcf7b71f276a" providerId="ADAL" clId="{EEA38070-6794-41D2-BF8A-0742E5EDBF80}" dt="2020-03-03T02:56:08.326" v="73" actId="478"/>
          <ac:grpSpMkLst>
            <pc:docMk/>
            <pc:sldMk cId="1663681182" sldId="1468"/>
            <ac:grpSpMk id="6" creationId="{00000000-0000-0000-0000-000000000000}"/>
          </ac:grpSpMkLst>
        </pc:grpChg>
        <pc:picChg chg="add mod">
          <ac:chgData name="Sam Mesel" userId="1ee7badb-5d1f-4872-89ae-dcf7b71f276a" providerId="ADAL" clId="{EEA38070-6794-41D2-BF8A-0742E5EDBF80}" dt="2020-03-03T02:56:12.989" v="75" actId="14100"/>
          <ac:picMkLst>
            <pc:docMk/>
            <pc:sldMk cId="1663681182" sldId="1468"/>
            <ac:picMk id="4" creationId="{27D1C25E-6905-4D4C-97E2-3296873E8A23}"/>
          </ac:picMkLst>
        </pc:picChg>
        <pc:picChg chg="add mod">
          <ac:chgData name="Sam Mesel" userId="1ee7badb-5d1f-4872-89ae-dcf7b71f276a" providerId="ADAL" clId="{EEA38070-6794-41D2-BF8A-0742E5EDBF80}" dt="2020-03-03T02:57:24.917" v="77" actId="1076"/>
          <ac:picMkLst>
            <pc:docMk/>
            <pc:sldMk cId="1663681182" sldId="1468"/>
            <ac:picMk id="5" creationId="{6B1795D9-5517-49AC-95FD-2A85065FA699}"/>
          </ac:picMkLst>
        </pc:picChg>
      </pc:sldChg>
      <pc:sldChg chg="addSp delSp modSp mod">
        <pc:chgData name="Sam Mesel" userId="1ee7badb-5d1f-4872-89ae-dcf7b71f276a" providerId="ADAL" clId="{EEA38070-6794-41D2-BF8A-0742E5EDBF80}" dt="2020-03-03T03:00:59.607" v="165" actId="1076"/>
        <pc:sldMkLst>
          <pc:docMk/>
          <pc:sldMk cId="603308621" sldId="1471"/>
        </pc:sldMkLst>
        <pc:spChg chg="del mod">
          <ac:chgData name="Sam Mesel" userId="1ee7badb-5d1f-4872-89ae-dcf7b71f276a" providerId="ADAL" clId="{EEA38070-6794-41D2-BF8A-0742E5EDBF80}" dt="2020-03-03T03:00:04.743" v="154" actId="12084"/>
          <ac:spMkLst>
            <pc:docMk/>
            <pc:sldMk cId="603308621" sldId="1471"/>
            <ac:spMk id="2" creationId="{00000000-0000-0000-0000-000000000000}"/>
          </ac:spMkLst>
        </pc:spChg>
        <pc:spChg chg="mod">
          <ac:chgData name="Sam Mesel" userId="1ee7badb-5d1f-4872-89ae-dcf7b71f276a" providerId="ADAL" clId="{EEA38070-6794-41D2-BF8A-0742E5EDBF80}" dt="2020-03-03T02:58:46.561" v="124" actId="6549"/>
          <ac:spMkLst>
            <pc:docMk/>
            <pc:sldMk cId="603308621" sldId="1471"/>
            <ac:spMk id="3" creationId="{00000000-0000-0000-0000-000000000000}"/>
          </ac:spMkLst>
        </pc:spChg>
        <pc:spChg chg="mod">
          <ac:chgData name="Sam Mesel" userId="1ee7badb-5d1f-4872-89ae-dcf7b71f276a" providerId="ADAL" clId="{EEA38070-6794-41D2-BF8A-0742E5EDBF80}" dt="2020-03-03T02:46:35.481" v="1" actId="20577"/>
          <ac:spMkLst>
            <pc:docMk/>
            <pc:sldMk cId="603308621" sldId="1471"/>
            <ac:spMk id="29" creationId="{00000000-0000-0000-0000-000000000000}"/>
          </ac:spMkLst>
        </pc:spChg>
        <pc:grpChg chg="mod">
          <ac:chgData name="Sam Mesel" userId="1ee7badb-5d1f-4872-89ae-dcf7b71f276a" providerId="ADAL" clId="{EEA38070-6794-41D2-BF8A-0742E5EDBF80}" dt="2020-03-03T03:00:59.607" v="165" actId="1076"/>
          <ac:grpSpMkLst>
            <pc:docMk/>
            <pc:sldMk cId="603308621" sldId="1471"/>
            <ac:grpSpMk id="26" creationId="{00000000-0000-0000-0000-000000000000}"/>
          </ac:grpSpMkLst>
        </pc:grpChg>
        <pc:graphicFrameChg chg="add mod">
          <ac:chgData name="Sam Mesel" userId="1ee7badb-5d1f-4872-89ae-dcf7b71f276a" providerId="ADAL" clId="{EEA38070-6794-41D2-BF8A-0742E5EDBF80}" dt="2020-03-03T03:00:04.743" v="154" actId="12084"/>
          <ac:graphicFrameMkLst>
            <pc:docMk/>
            <pc:sldMk cId="603308621" sldId="1471"/>
            <ac:graphicFrameMk id="4" creationId="{189033D4-A238-4C13-9474-186E15C93319}"/>
          </ac:graphicFrameMkLst>
        </pc:graphicFrameChg>
      </pc:sldChg>
      <pc:sldChg chg="modSp mod">
        <pc:chgData name="Sam Mesel" userId="1ee7badb-5d1f-4872-89ae-dcf7b71f276a" providerId="ADAL" clId="{EEA38070-6794-41D2-BF8A-0742E5EDBF80}" dt="2020-03-03T03:07:27.383" v="244" actId="1076"/>
        <pc:sldMkLst>
          <pc:docMk/>
          <pc:sldMk cId="198702297" sldId="1480"/>
        </pc:sldMkLst>
        <pc:graphicFrameChg chg="mod">
          <ac:chgData name="Sam Mesel" userId="1ee7badb-5d1f-4872-89ae-dcf7b71f276a" providerId="ADAL" clId="{EEA38070-6794-41D2-BF8A-0742E5EDBF80}" dt="2020-03-03T03:07:27.383" v="244" actId="1076"/>
          <ac:graphicFrameMkLst>
            <pc:docMk/>
            <pc:sldMk cId="198702297" sldId="1480"/>
            <ac:graphicFrameMk id="5" creationId="{00000000-0000-0000-0000-000000000000}"/>
          </ac:graphicFrameMkLst>
        </pc:graphicFrameChg>
      </pc:sldChg>
      <pc:sldChg chg="addSp delSp modSp mod modAnim">
        <pc:chgData name="Sam Mesel" userId="1ee7badb-5d1f-4872-89ae-dcf7b71f276a" providerId="ADAL" clId="{EEA38070-6794-41D2-BF8A-0742E5EDBF80}" dt="2020-03-03T03:05:33.114" v="239"/>
        <pc:sldMkLst>
          <pc:docMk/>
          <pc:sldMk cId="4070079541" sldId="1484"/>
        </pc:sldMkLst>
        <pc:spChg chg="del">
          <ac:chgData name="Sam Mesel" userId="1ee7badb-5d1f-4872-89ae-dcf7b71f276a" providerId="ADAL" clId="{EEA38070-6794-41D2-BF8A-0742E5EDBF80}" dt="2020-03-03T03:01:57.782" v="167" actId="478"/>
          <ac:spMkLst>
            <pc:docMk/>
            <pc:sldMk cId="4070079541" sldId="1484"/>
            <ac:spMk id="10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0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0"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4"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8"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2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22"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2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2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26"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2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2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0"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4"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8"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4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42"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4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4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46"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4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4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0"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4"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8"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6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62"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6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6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66"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6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6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0"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4"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8"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2"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6"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8"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90" creationId="{00000000-0000-0000-0000-000000000000}"/>
          </ac:spMkLst>
        </pc:spChg>
        <pc:spChg chg="add mod">
          <ac:chgData name="Sam Mesel" userId="1ee7badb-5d1f-4872-89ae-dcf7b71f276a" providerId="ADAL" clId="{EEA38070-6794-41D2-BF8A-0742E5EDBF80}" dt="2020-03-03T03:04:06.535" v="204" actId="1076"/>
          <ac:spMkLst>
            <pc:docMk/>
            <pc:sldMk cId="4070079541" sldId="1484"/>
            <ac:spMk id="192" creationId="{D30975BC-1E21-4F9D-A69E-B2EF83E16986}"/>
          </ac:spMkLst>
        </pc:spChg>
        <pc:spChg chg="add mod">
          <ac:chgData name="Sam Mesel" userId="1ee7badb-5d1f-4872-89ae-dcf7b71f276a" providerId="ADAL" clId="{EEA38070-6794-41D2-BF8A-0742E5EDBF80}" dt="2020-03-03T03:05:06.693" v="237" actId="1037"/>
          <ac:spMkLst>
            <pc:docMk/>
            <pc:sldMk cId="4070079541" sldId="1484"/>
            <ac:spMk id="193" creationId="{26D363A9-8C0D-48BA-959F-21796E0BF304}"/>
          </ac:spMkLst>
        </pc:spChg>
        <pc:spChg chg="add mod">
          <ac:chgData name="Sam Mesel" userId="1ee7badb-5d1f-4872-89ae-dcf7b71f276a" providerId="ADAL" clId="{EEA38070-6794-41D2-BF8A-0742E5EDBF80}" dt="2020-03-03T03:05:06.693" v="237" actId="1037"/>
          <ac:spMkLst>
            <pc:docMk/>
            <pc:sldMk cId="4070079541" sldId="1484"/>
            <ac:spMk id="194" creationId="{9A16CED8-7CDA-4E08-B8BF-3BB6DE2D915B}"/>
          </ac:spMkLst>
        </pc:spChg>
        <pc:spChg chg="add mod">
          <ac:chgData name="Sam Mesel" userId="1ee7badb-5d1f-4872-89ae-dcf7b71f276a" providerId="ADAL" clId="{EEA38070-6794-41D2-BF8A-0742E5EDBF80}" dt="2020-03-03T03:05:06.693" v="237" actId="1037"/>
          <ac:spMkLst>
            <pc:docMk/>
            <pc:sldMk cId="4070079541" sldId="1484"/>
            <ac:spMk id="195" creationId="{2398C8D6-46E8-4B46-BCCB-C248A8FDFCA3}"/>
          </ac:spMkLst>
        </pc:spChg>
        <pc:spChg chg="add mod">
          <ac:chgData name="Sam Mesel" userId="1ee7badb-5d1f-4872-89ae-dcf7b71f276a" providerId="ADAL" clId="{EEA38070-6794-41D2-BF8A-0742E5EDBF80}" dt="2020-03-03T03:05:06.693" v="237" actId="1037"/>
          <ac:spMkLst>
            <pc:docMk/>
            <pc:sldMk cId="4070079541" sldId="1484"/>
            <ac:spMk id="196" creationId="{AA90098F-9F70-415C-80C9-3DB7FAE5E8D3}"/>
          </ac:spMkLst>
        </pc:spChg>
        <pc:spChg chg="add mod">
          <ac:chgData name="Sam Mesel" userId="1ee7badb-5d1f-4872-89ae-dcf7b71f276a" providerId="ADAL" clId="{EEA38070-6794-41D2-BF8A-0742E5EDBF80}" dt="2020-03-03T03:05:06.693" v="237" actId="1037"/>
          <ac:spMkLst>
            <pc:docMk/>
            <pc:sldMk cId="4070079541" sldId="1484"/>
            <ac:spMk id="197" creationId="{5BD80724-7759-4FF2-99F6-B1DC41DE6881}"/>
          </ac:spMkLst>
        </pc:spChg>
        <pc:spChg chg="add mod">
          <ac:chgData name="Sam Mesel" userId="1ee7badb-5d1f-4872-89ae-dcf7b71f276a" providerId="ADAL" clId="{EEA38070-6794-41D2-BF8A-0742E5EDBF80}" dt="2020-03-03T03:05:06.693" v="237" actId="1037"/>
          <ac:spMkLst>
            <pc:docMk/>
            <pc:sldMk cId="4070079541" sldId="1484"/>
            <ac:spMk id="199" creationId="{502FFD37-ED0E-4944-BA43-E67FEEA022E2}"/>
          </ac:spMkLst>
        </pc:spChg>
        <pc:spChg chg="add mod">
          <ac:chgData name="Sam Mesel" userId="1ee7badb-5d1f-4872-89ae-dcf7b71f276a" providerId="ADAL" clId="{EEA38070-6794-41D2-BF8A-0742E5EDBF80}" dt="2020-03-03T03:05:06.693" v="237" actId="1037"/>
          <ac:spMkLst>
            <pc:docMk/>
            <pc:sldMk cId="4070079541" sldId="1484"/>
            <ac:spMk id="200" creationId="{FBA03838-F61D-45D6-ACE9-946F779A659C}"/>
          </ac:spMkLst>
        </pc:spChg>
        <pc:spChg chg="add mod">
          <ac:chgData name="Sam Mesel" userId="1ee7badb-5d1f-4872-89ae-dcf7b71f276a" providerId="ADAL" clId="{EEA38070-6794-41D2-BF8A-0742E5EDBF80}" dt="2020-03-03T03:05:06.693" v="237" actId="1037"/>
          <ac:spMkLst>
            <pc:docMk/>
            <pc:sldMk cId="4070079541" sldId="1484"/>
            <ac:spMk id="201" creationId="{0A07DE42-1635-4765-AAFD-7C932985AB19}"/>
          </ac:spMkLst>
        </pc:spChg>
        <pc:spChg chg="add mod">
          <ac:chgData name="Sam Mesel" userId="1ee7badb-5d1f-4872-89ae-dcf7b71f276a" providerId="ADAL" clId="{EEA38070-6794-41D2-BF8A-0742E5EDBF80}" dt="2020-03-03T03:05:06.693" v="237" actId="1037"/>
          <ac:spMkLst>
            <pc:docMk/>
            <pc:sldMk cId="4070079541" sldId="1484"/>
            <ac:spMk id="203" creationId="{94CEE80C-04B1-4E15-9C83-4FACEE731E4E}"/>
          </ac:spMkLst>
        </pc:spChg>
        <pc:spChg chg="add mod">
          <ac:chgData name="Sam Mesel" userId="1ee7badb-5d1f-4872-89ae-dcf7b71f276a" providerId="ADAL" clId="{EEA38070-6794-41D2-BF8A-0742E5EDBF80}" dt="2020-03-03T03:05:06.693" v="237" actId="1037"/>
          <ac:spMkLst>
            <pc:docMk/>
            <pc:sldMk cId="4070079541" sldId="1484"/>
            <ac:spMk id="204" creationId="{AE11EE50-0DF1-426B-845C-99DF9E215FE0}"/>
          </ac:spMkLst>
        </pc:spChg>
        <pc:spChg chg="add mod">
          <ac:chgData name="Sam Mesel" userId="1ee7badb-5d1f-4872-89ae-dcf7b71f276a" providerId="ADAL" clId="{EEA38070-6794-41D2-BF8A-0742E5EDBF80}" dt="2020-03-03T03:05:06.693" v="237" actId="1037"/>
          <ac:spMkLst>
            <pc:docMk/>
            <pc:sldMk cId="4070079541" sldId="1484"/>
            <ac:spMk id="205" creationId="{E3A5C743-FE3C-419F-B9D7-40B73FBA20DA}"/>
          </ac:spMkLst>
        </pc:spChg>
        <pc:spChg chg="del">
          <ac:chgData name="Sam Mesel" userId="1ee7badb-5d1f-4872-89ae-dcf7b71f276a" providerId="ADAL" clId="{EEA38070-6794-41D2-BF8A-0742E5EDBF80}" dt="2020-03-03T03:01:57.782" v="167" actId="478"/>
          <ac:spMkLst>
            <pc:docMk/>
            <pc:sldMk cId="4070079541" sldId="1484"/>
            <ac:spMk id="20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210"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21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212" creationId="{00000000-0000-0000-0000-000000000000}"/>
          </ac:spMkLst>
        </pc:spChg>
        <pc:spChg chg="add mod">
          <ac:chgData name="Sam Mesel" userId="1ee7badb-5d1f-4872-89ae-dcf7b71f276a" providerId="ADAL" clId="{EEA38070-6794-41D2-BF8A-0742E5EDBF80}" dt="2020-03-03T03:05:06.693" v="237" actId="1037"/>
          <ac:spMkLst>
            <pc:docMk/>
            <pc:sldMk cId="4070079541" sldId="1484"/>
            <ac:spMk id="213" creationId="{87A33EC8-96AB-4F14-BFC3-6167D2B849B9}"/>
          </ac:spMkLst>
        </pc:spChg>
        <pc:spChg chg="add mod">
          <ac:chgData name="Sam Mesel" userId="1ee7badb-5d1f-4872-89ae-dcf7b71f276a" providerId="ADAL" clId="{EEA38070-6794-41D2-BF8A-0742E5EDBF80}" dt="2020-03-03T03:05:06.693" v="237" actId="1037"/>
          <ac:spMkLst>
            <pc:docMk/>
            <pc:sldMk cId="4070079541" sldId="1484"/>
            <ac:spMk id="214" creationId="{470E5707-E8A4-4E53-AECA-4BA3AC1DC764}"/>
          </ac:spMkLst>
        </pc:spChg>
        <pc:spChg chg="add mod">
          <ac:chgData name="Sam Mesel" userId="1ee7badb-5d1f-4872-89ae-dcf7b71f276a" providerId="ADAL" clId="{EEA38070-6794-41D2-BF8A-0742E5EDBF80}" dt="2020-03-03T03:05:06.693" v="237" actId="1037"/>
          <ac:spMkLst>
            <pc:docMk/>
            <pc:sldMk cId="4070079541" sldId="1484"/>
            <ac:spMk id="215" creationId="{B4E9B23B-9688-4287-A09D-80A63CF4C91C}"/>
          </ac:spMkLst>
        </pc:spChg>
        <pc:spChg chg="add mod">
          <ac:chgData name="Sam Mesel" userId="1ee7badb-5d1f-4872-89ae-dcf7b71f276a" providerId="ADAL" clId="{EEA38070-6794-41D2-BF8A-0742E5EDBF80}" dt="2020-03-03T03:05:06.693" v="237" actId="1037"/>
          <ac:spMkLst>
            <pc:docMk/>
            <pc:sldMk cId="4070079541" sldId="1484"/>
            <ac:spMk id="217" creationId="{7E876473-0958-470F-94E0-AF8A4A646158}"/>
          </ac:spMkLst>
        </pc:spChg>
        <pc:spChg chg="add mod">
          <ac:chgData name="Sam Mesel" userId="1ee7badb-5d1f-4872-89ae-dcf7b71f276a" providerId="ADAL" clId="{EEA38070-6794-41D2-BF8A-0742E5EDBF80}" dt="2020-03-03T03:05:06.693" v="237" actId="1037"/>
          <ac:spMkLst>
            <pc:docMk/>
            <pc:sldMk cId="4070079541" sldId="1484"/>
            <ac:spMk id="218" creationId="{46D87170-105D-420E-9E4E-4397A7EB4A36}"/>
          </ac:spMkLst>
        </pc:spChg>
        <pc:spChg chg="add mod">
          <ac:chgData name="Sam Mesel" userId="1ee7badb-5d1f-4872-89ae-dcf7b71f276a" providerId="ADAL" clId="{EEA38070-6794-41D2-BF8A-0742E5EDBF80}" dt="2020-03-03T03:05:06.693" v="237" actId="1037"/>
          <ac:spMkLst>
            <pc:docMk/>
            <pc:sldMk cId="4070079541" sldId="1484"/>
            <ac:spMk id="219" creationId="{84486422-E7FF-4ADC-AFF5-C103CCF9068F}"/>
          </ac:spMkLst>
        </pc:spChg>
        <pc:spChg chg="add mod">
          <ac:chgData name="Sam Mesel" userId="1ee7badb-5d1f-4872-89ae-dcf7b71f276a" providerId="ADAL" clId="{EEA38070-6794-41D2-BF8A-0742E5EDBF80}" dt="2020-03-03T03:05:06.693" v="237" actId="1037"/>
          <ac:spMkLst>
            <pc:docMk/>
            <pc:sldMk cId="4070079541" sldId="1484"/>
            <ac:spMk id="221" creationId="{E8326B96-B0BA-4A85-B698-E9F1BCAECCA3}"/>
          </ac:spMkLst>
        </pc:spChg>
        <pc:spChg chg="add mod">
          <ac:chgData name="Sam Mesel" userId="1ee7badb-5d1f-4872-89ae-dcf7b71f276a" providerId="ADAL" clId="{EEA38070-6794-41D2-BF8A-0742E5EDBF80}" dt="2020-03-03T03:05:06.693" v="237" actId="1037"/>
          <ac:spMkLst>
            <pc:docMk/>
            <pc:sldMk cId="4070079541" sldId="1484"/>
            <ac:spMk id="222" creationId="{04DA19B5-838E-4FA3-AB9E-D4D47489DE3F}"/>
          </ac:spMkLst>
        </pc:spChg>
        <pc:spChg chg="add mod">
          <ac:chgData name="Sam Mesel" userId="1ee7badb-5d1f-4872-89ae-dcf7b71f276a" providerId="ADAL" clId="{EEA38070-6794-41D2-BF8A-0742E5EDBF80}" dt="2020-03-03T03:05:06.693" v="237" actId="1037"/>
          <ac:spMkLst>
            <pc:docMk/>
            <pc:sldMk cId="4070079541" sldId="1484"/>
            <ac:spMk id="223" creationId="{D8AE39E2-9D13-4207-9B49-4E365E74E47A}"/>
          </ac:spMkLst>
        </pc:spChg>
        <pc:spChg chg="add mod">
          <ac:chgData name="Sam Mesel" userId="1ee7badb-5d1f-4872-89ae-dcf7b71f276a" providerId="ADAL" clId="{EEA38070-6794-41D2-BF8A-0742E5EDBF80}" dt="2020-03-03T03:05:06.693" v="237" actId="1037"/>
          <ac:spMkLst>
            <pc:docMk/>
            <pc:sldMk cId="4070079541" sldId="1484"/>
            <ac:spMk id="225" creationId="{7FE5515C-5D1D-467D-84C5-A0FFC6FBFBC0}"/>
          </ac:spMkLst>
        </pc:spChg>
        <pc:spChg chg="add mod">
          <ac:chgData name="Sam Mesel" userId="1ee7badb-5d1f-4872-89ae-dcf7b71f276a" providerId="ADAL" clId="{EEA38070-6794-41D2-BF8A-0742E5EDBF80}" dt="2020-03-03T03:05:06.693" v="237" actId="1037"/>
          <ac:spMkLst>
            <pc:docMk/>
            <pc:sldMk cId="4070079541" sldId="1484"/>
            <ac:spMk id="226" creationId="{86C3D799-0723-4DF0-BC03-2E6F87C89386}"/>
          </ac:spMkLst>
        </pc:spChg>
        <pc:spChg chg="add mod">
          <ac:chgData name="Sam Mesel" userId="1ee7badb-5d1f-4872-89ae-dcf7b71f276a" providerId="ADAL" clId="{EEA38070-6794-41D2-BF8A-0742E5EDBF80}" dt="2020-03-03T03:05:06.693" v="237" actId="1037"/>
          <ac:spMkLst>
            <pc:docMk/>
            <pc:sldMk cId="4070079541" sldId="1484"/>
            <ac:spMk id="227" creationId="{788F7864-0D86-4164-A074-10CD7284274E}"/>
          </ac:spMkLst>
        </pc:spChg>
        <pc:spChg chg="add mod">
          <ac:chgData name="Sam Mesel" userId="1ee7badb-5d1f-4872-89ae-dcf7b71f276a" providerId="ADAL" clId="{EEA38070-6794-41D2-BF8A-0742E5EDBF80}" dt="2020-03-03T03:05:06.693" v="237" actId="1037"/>
          <ac:spMkLst>
            <pc:docMk/>
            <pc:sldMk cId="4070079541" sldId="1484"/>
            <ac:spMk id="229" creationId="{B683B0FF-930B-4B31-825C-B638859DEC2B}"/>
          </ac:spMkLst>
        </pc:spChg>
        <pc:spChg chg="add mod">
          <ac:chgData name="Sam Mesel" userId="1ee7badb-5d1f-4872-89ae-dcf7b71f276a" providerId="ADAL" clId="{EEA38070-6794-41D2-BF8A-0742E5EDBF80}" dt="2020-03-03T03:05:06.693" v="237" actId="1037"/>
          <ac:spMkLst>
            <pc:docMk/>
            <pc:sldMk cId="4070079541" sldId="1484"/>
            <ac:spMk id="230" creationId="{2ACA09C1-585A-4A57-9D7F-423F81FB0023}"/>
          </ac:spMkLst>
        </pc:spChg>
        <pc:spChg chg="add mod">
          <ac:chgData name="Sam Mesel" userId="1ee7badb-5d1f-4872-89ae-dcf7b71f276a" providerId="ADAL" clId="{EEA38070-6794-41D2-BF8A-0742E5EDBF80}" dt="2020-03-03T03:05:06.693" v="237" actId="1037"/>
          <ac:spMkLst>
            <pc:docMk/>
            <pc:sldMk cId="4070079541" sldId="1484"/>
            <ac:spMk id="231" creationId="{72510F7F-15BB-4F27-9BFC-6D2C101D7B08}"/>
          </ac:spMkLst>
        </pc:spChg>
        <pc:spChg chg="add mod">
          <ac:chgData name="Sam Mesel" userId="1ee7badb-5d1f-4872-89ae-dcf7b71f276a" providerId="ADAL" clId="{EEA38070-6794-41D2-BF8A-0742E5EDBF80}" dt="2020-03-03T03:05:06.693" v="237" actId="1037"/>
          <ac:spMkLst>
            <pc:docMk/>
            <pc:sldMk cId="4070079541" sldId="1484"/>
            <ac:spMk id="233" creationId="{69D6DDC4-2510-4AFF-B5C3-8EAFB3E3D1E0}"/>
          </ac:spMkLst>
        </pc:spChg>
        <pc:spChg chg="add mod">
          <ac:chgData name="Sam Mesel" userId="1ee7badb-5d1f-4872-89ae-dcf7b71f276a" providerId="ADAL" clId="{EEA38070-6794-41D2-BF8A-0742E5EDBF80}" dt="2020-03-03T03:05:06.693" v="237" actId="1037"/>
          <ac:spMkLst>
            <pc:docMk/>
            <pc:sldMk cId="4070079541" sldId="1484"/>
            <ac:spMk id="234" creationId="{A8BD7482-84E2-46BC-BEBF-65739FCBAFCF}"/>
          </ac:spMkLst>
        </pc:spChg>
        <pc:spChg chg="add mod">
          <ac:chgData name="Sam Mesel" userId="1ee7badb-5d1f-4872-89ae-dcf7b71f276a" providerId="ADAL" clId="{EEA38070-6794-41D2-BF8A-0742E5EDBF80}" dt="2020-03-03T03:05:06.693" v="237" actId="1037"/>
          <ac:spMkLst>
            <pc:docMk/>
            <pc:sldMk cId="4070079541" sldId="1484"/>
            <ac:spMk id="235" creationId="{57D68322-C252-4A55-B7AB-720B6F7F7FE7}"/>
          </ac:spMkLst>
        </pc:spChg>
        <pc:spChg chg="add mod">
          <ac:chgData name="Sam Mesel" userId="1ee7badb-5d1f-4872-89ae-dcf7b71f276a" providerId="ADAL" clId="{EEA38070-6794-41D2-BF8A-0742E5EDBF80}" dt="2020-03-03T03:05:06.693" v="237" actId="1037"/>
          <ac:spMkLst>
            <pc:docMk/>
            <pc:sldMk cId="4070079541" sldId="1484"/>
            <ac:spMk id="237" creationId="{89C2F567-CD01-4666-863B-5BC870B56FF2}"/>
          </ac:spMkLst>
        </pc:spChg>
        <pc:spChg chg="add mod">
          <ac:chgData name="Sam Mesel" userId="1ee7badb-5d1f-4872-89ae-dcf7b71f276a" providerId="ADAL" clId="{EEA38070-6794-41D2-BF8A-0742E5EDBF80}" dt="2020-03-03T03:05:06.693" v="237" actId="1037"/>
          <ac:spMkLst>
            <pc:docMk/>
            <pc:sldMk cId="4070079541" sldId="1484"/>
            <ac:spMk id="238" creationId="{FC5D6EF5-EC0C-4F83-B41E-C8864D885598}"/>
          </ac:spMkLst>
        </pc:spChg>
        <pc:spChg chg="add mod">
          <ac:chgData name="Sam Mesel" userId="1ee7badb-5d1f-4872-89ae-dcf7b71f276a" providerId="ADAL" clId="{EEA38070-6794-41D2-BF8A-0742E5EDBF80}" dt="2020-03-03T03:05:06.693" v="237" actId="1037"/>
          <ac:spMkLst>
            <pc:docMk/>
            <pc:sldMk cId="4070079541" sldId="1484"/>
            <ac:spMk id="239" creationId="{1B378816-8E71-4CEF-B704-3A2BE0E69016}"/>
          </ac:spMkLst>
        </pc:spChg>
        <pc:spChg chg="add mod">
          <ac:chgData name="Sam Mesel" userId="1ee7badb-5d1f-4872-89ae-dcf7b71f276a" providerId="ADAL" clId="{EEA38070-6794-41D2-BF8A-0742E5EDBF80}" dt="2020-03-03T03:05:06.693" v="237" actId="1037"/>
          <ac:spMkLst>
            <pc:docMk/>
            <pc:sldMk cId="4070079541" sldId="1484"/>
            <ac:spMk id="241" creationId="{B927003B-2A4C-4540-A106-56F3134AD444}"/>
          </ac:spMkLst>
        </pc:spChg>
        <pc:spChg chg="add mod">
          <ac:chgData name="Sam Mesel" userId="1ee7badb-5d1f-4872-89ae-dcf7b71f276a" providerId="ADAL" clId="{EEA38070-6794-41D2-BF8A-0742E5EDBF80}" dt="2020-03-03T03:05:06.693" v="237" actId="1037"/>
          <ac:spMkLst>
            <pc:docMk/>
            <pc:sldMk cId="4070079541" sldId="1484"/>
            <ac:spMk id="242" creationId="{A3871F51-C483-4550-B0FA-DEA1CF13A65B}"/>
          </ac:spMkLst>
        </pc:spChg>
        <pc:spChg chg="add mod">
          <ac:chgData name="Sam Mesel" userId="1ee7badb-5d1f-4872-89ae-dcf7b71f276a" providerId="ADAL" clId="{EEA38070-6794-41D2-BF8A-0742E5EDBF80}" dt="2020-03-03T03:05:06.693" v="237" actId="1037"/>
          <ac:spMkLst>
            <pc:docMk/>
            <pc:sldMk cId="4070079541" sldId="1484"/>
            <ac:spMk id="243" creationId="{990F75F7-9392-4AB1-BB39-8007B9748419}"/>
          </ac:spMkLst>
        </pc:spChg>
        <pc:spChg chg="add mod">
          <ac:chgData name="Sam Mesel" userId="1ee7badb-5d1f-4872-89ae-dcf7b71f276a" providerId="ADAL" clId="{EEA38070-6794-41D2-BF8A-0742E5EDBF80}" dt="2020-03-03T03:05:06.693" v="237" actId="1037"/>
          <ac:spMkLst>
            <pc:docMk/>
            <pc:sldMk cId="4070079541" sldId="1484"/>
            <ac:spMk id="245" creationId="{B47ACF19-70E0-4F30-A299-370DFD4ABDCF}"/>
          </ac:spMkLst>
        </pc:spChg>
        <pc:spChg chg="add mod">
          <ac:chgData name="Sam Mesel" userId="1ee7badb-5d1f-4872-89ae-dcf7b71f276a" providerId="ADAL" clId="{EEA38070-6794-41D2-BF8A-0742E5EDBF80}" dt="2020-03-03T03:05:06.693" v="237" actId="1037"/>
          <ac:spMkLst>
            <pc:docMk/>
            <pc:sldMk cId="4070079541" sldId="1484"/>
            <ac:spMk id="246" creationId="{5F4C9DEA-53B2-42F7-977C-8BB1111A5452}"/>
          </ac:spMkLst>
        </pc:spChg>
        <pc:spChg chg="add mod">
          <ac:chgData name="Sam Mesel" userId="1ee7badb-5d1f-4872-89ae-dcf7b71f276a" providerId="ADAL" clId="{EEA38070-6794-41D2-BF8A-0742E5EDBF80}" dt="2020-03-03T03:05:06.693" v="237" actId="1037"/>
          <ac:spMkLst>
            <pc:docMk/>
            <pc:sldMk cId="4070079541" sldId="1484"/>
            <ac:spMk id="247" creationId="{2E867C4A-A728-4214-88E9-03B2E73DA8B2}"/>
          </ac:spMkLst>
        </pc:spChg>
        <pc:spChg chg="add mod">
          <ac:chgData name="Sam Mesel" userId="1ee7badb-5d1f-4872-89ae-dcf7b71f276a" providerId="ADAL" clId="{EEA38070-6794-41D2-BF8A-0742E5EDBF80}" dt="2020-03-03T03:05:06.693" v="237" actId="1037"/>
          <ac:spMkLst>
            <pc:docMk/>
            <pc:sldMk cId="4070079541" sldId="1484"/>
            <ac:spMk id="249" creationId="{EAFD2B65-C5D3-4E2E-95DC-B69402DCF252}"/>
          </ac:spMkLst>
        </pc:spChg>
        <pc:spChg chg="add mod">
          <ac:chgData name="Sam Mesel" userId="1ee7badb-5d1f-4872-89ae-dcf7b71f276a" providerId="ADAL" clId="{EEA38070-6794-41D2-BF8A-0742E5EDBF80}" dt="2020-03-03T03:05:06.693" v="237" actId="1037"/>
          <ac:spMkLst>
            <pc:docMk/>
            <pc:sldMk cId="4070079541" sldId="1484"/>
            <ac:spMk id="250" creationId="{02E39EAD-0C29-46F5-A020-FB05FC9F6694}"/>
          </ac:spMkLst>
        </pc:spChg>
        <pc:spChg chg="add mod">
          <ac:chgData name="Sam Mesel" userId="1ee7badb-5d1f-4872-89ae-dcf7b71f276a" providerId="ADAL" clId="{EEA38070-6794-41D2-BF8A-0742E5EDBF80}" dt="2020-03-03T03:05:06.693" v="237" actId="1037"/>
          <ac:spMkLst>
            <pc:docMk/>
            <pc:sldMk cId="4070079541" sldId="1484"/>
            <ac:spMk id="251" creationId="{132F8053-03A8-4566-B2D1-F4A86A46A5D3}"/>
          </ac:spMkLst>
        </pc:spChg>
        <pc:spChg chg="add mod">
          <ac:chgData name="Sam Mesel" userId="1ee7badb-5d1f-4872-89ae-dcf7b71f276a" providerId="ADAL" clId="{EEA38070-6794-41D2-BF8A-0742E5EDBF80}" dt="2020-03-03T03:05:06.693" v="237" actId="1037"/>
          <ac:spMkLst>
            <pc:docMk/>
            <pc:sldMk cId="4070079541" sldId="1484"/>
            <ac:spMk id="253" creationId="{5FBA0C64-FF54-45F4-AC91-B77450F98EDD}"/>
          </ac:spMkLst>
        </pc:spChg>
        <pc:spChg chg="add mod">
          <ac:chgData name="Sam Mesel" userId="1ee7badb-5d1f-4872-89ae-dcf7b71f276a" providerId="ADAL" clId="{EEA38070-6794-41D2-BF8A-0742E5EDBF80}" dt="2020-03-03T03:05:06.693" v="237" actId="1037"/>
          <ac:spMkLst>
            <pc:docMk/>
            <pc:sldMk cId="4070079541" sldId="1484"/>
            <ac:spMk id="254" creationId="{EB9C86D7-4D22-4CAA-8FEB-FA699226348F}"/>
          </ac:spMkLst>
        </pc:spChg>
        <pc:spChg chg="add mod">
          <ac:chgData name="Sam Mesel" userId="1ee7badb-5d1f-4872-89ae-dcf7b71f276a" providerId="ADAL" clId="{EEA38070-6794-41D2-BF8A-0742E5EDBF80}" dt="2020-03-03T03:05:06.693" v="237" actId="1037"/>
          <ac:spMkLst>
            <pc:docMk/>
            <pc:sldMk cId="4070079541" sldId="1484"/>
            <ac:spMk id="255" creationId="{47804046-1181-458E-A8D8-50E762912877}"/>
          </ac:spMkLst>
        </pc:spChg>
        <pc:spChg chg="add mod">
          <ac:chgData name="Sam Mesel" userId="1ee7badb-5d1f-4872-89ae-dcf7b71f276a" providerId="ADAL" clId="{EEA38070-6794-41D2-BF8A-0742E5EDBF80}" dt="2020-03-03T03:05:06.693" v="237" actId="1037"/>
          <ac:spMkLst>
            <pc:docMk/>
            <pc:sldMk cId="4070079541" sldId="1484"/>
            <ac:spMk id="257" creationId="{1AF0E181-E522-4866-929D-6865CFED34A4}"/>
          </ac:spMkLst>
        </pc:spChg>
        <pc:spChg chg="add mod">
          <ac:chgData name="Sam Mesel" userId="1ee7badb-5d1f-4872-89ae-dcf7b71f276a" providerId="ADAL" clId="{EEA38070-6794-41D2-BF8A-0742E5EDBF80}" dt="2020-03-03T03:05:06.693" v="237" actId="1037"/>
          <ac:spMkLst>
            <pc:docMk/>
            <pc:sldMk cId="4070079541" sldId="1484"/>
            <ac:spMk id="258" creationId="{60DDB963-920C-4810-8020-0D89754BBC20}"/>
          </ac:spMkLst>
        </pc:spChg>
        <pc:spChg chg="add mod">
          <ac:chgData name="Sam Mesel" userId="1ee7badb-5d1f-4872-89ae-dcf7b71f276a" providerId="ADAL" clId="{EEA38070-6794-41D2-BF8A-0742E5EDBF80}" dt="2020-03-03T03:05:06.693" v="237" actId="1037"/>
          <ac:spMkLst>
            <pc:docMk/>
            <pc:sldMk cId="4070079541" sldId="1484"/>
            <ac:spMk id="259" creationId="{BAAF914F-B16D-4D40-A263-07FE24C8963E}"/>
          </ac:spMkLst>
        </pc:spChg>
        <pc:spChg chg="add mod">
          <ac:chgData name="Sam Mesel" userId="1ee7badb-5d1f-4872-89ae-dcf7b71f276a" providerId="ADAL" clId="{EEA38070-6794-41D2-BF8A-0742E5EDBF80}" dt="2020-03-03T03:05:06.693" v="237" actId="1037"/>
          <ac:spMkLst>
            <pc:docMk/>
            <pc:sldMk cId="4070079541" sldId="1484"/>
            <ac:spMk id="261" creationId="{F28C4F81-6287-48D2-88F1-1EFA67BCAAC3}"/>
          </ac:spMkLst>
        </pc:spChg>
        <pc:spChg chg="add mod">
          <ac:chgData name="Sam Mesel" userId="1ee7badb-5d1f-4872-89ae-dcf7b71f276a" providerId="ADAL" clId="{EEA38070-6794-41D2-BF8A-0742E5EDBF80}" dt="2020-03-03T03:05:06.693" v="237" actId="1037"/>
          <ac:spMkLst>
            <pc:docMk/>
            <pc:sldMk cId="4070079541" sldId="1484"/>
            <ac:spMk id="262" creationId="{B7B8B72D-180B-4F9E-914E-59D3BF7E849A}"/>
          </ac:spMkLst>
        </pc:spChg>
        <pc:spChg chg="add mod">
          <ac:chgData name="Sam Mesel" userId="1ee7badb-5d1f-4872-89ae-dcf7b71f276a" providerId="ADAL" clId="{EEA38070-6794-41D2-BF8A-0742E5EDBF80}" dt="2020-03-03T03:05:06.693" v="237" actId="1037"/>
          <ac:spMkLst>
            <pc:docMk/>
            <pc:sldMk cId="4070079541" sldId="1484"/>
            <ac:spMk id="263" creationId="{07533C94-6266-418D-9CD3-508CC342EFEB}"/>
          </ac:spMkLst>
        </pc:spChg>
        <pc:spChg chg="add mod">
          <ac:chgData name="Sam Mesel" userId="1ee7badb-5d1f-4872-89ae-dcf7b71f276a" providerId="ADAL" clId="{EEA38070-6794-41D2-BF8A-0742E5EDBF80}" dt="2020-03-03T03:05:06.693" v="237" actId="1037"/>
          <ac:spMkLst>
            <pc:docMk/>
            <pc:sldMk cId="4070079541" sldId="1484"/>
            <ac:spMk id="265" creationId="{908F615D-B658-49CA-96BC-0DC58C18530C}"/>
          </ac:spMkLst>
        </pc:spChg>
        <pc:spChg chg="add mod">
          <ac:chgData name="Sam Mesel" userId="1ee7badb-5d1f-4872-89ae-dcf7b71f276a" providerId="ADAL" clId="{EEA38070-6794-41D2-BF8A-0742E5EDBF80}" dt="2020-03-03T03:05:06.693" v="237" actId="1037"/>
          <ac:spMkLst>
            <pc:docMk/>
            <pc:sldMk cId="4070079541" sldId="1484"/>
            <ac:spMk id="266" creationId="{5AF54F9D-C94B-480C-8F16-5864B4F6E455}"/>
          </ac:spMkLst>
        </pc:spChg>
        <pc:spChg chg="add mod">
          <ac:chgData name="Sam Mesel" userId="1ee7badb-5d1f-4872-89ae-dcf7b71f276a" providerId="ADAL" clId="{EEA38070-6794-41D2-BF8A-0742E5EDBF80}" dt="2020-03-03T03:05:06.693" v="237" actId="1037"/>
          <ac:spMkLst>
            <pc:docMk/>
            <pc:sldMk cId="4070079541" sldId="1484"/>
            <ac:spMk id="267" creationId="{73FDE296-F9D0-4528-B076-5537A14D2972}"/>
          </ac:spMkLst>
        </pc:spChg>
        <pc:spChg chg="add mod">
          <ac:chgData name="Sam Mesel" userId="1ee7badb-5d1f-4872-89ae-dcf7b71f276a" providerId="ADAL" clId="{EEA38070-6794-41D2-BF8A-0742E5EDBF80}" dt="2020-03-03T03:05:06.693" v="237" actId="1037"/>
          <ac:spMkLst>
            <pc:docMk/>
            <pc:sldMk cId="4070079541" sldId="1484"/>
            <ac:spMk id="269" creationId="{4863F30D-0BD3-4E55-A7F4-82E66B73D6F6}"/>
          </ac:spMkLst>
        </pc:spChg>
        <pc:spChg chg="add mod">
          <ac:chgData name="Sam Mesel" userId="1ee7badb-5d1f-4872-89ae-dcf7b71f276a" providerId="ADAL" clId="{EEA38070-6794-41D2-BF8A-0742E5EDBF80}" dt="2020-03-03T03:05:06.693" v="237" actId="1037"/>
          <ac:spMkLst>
            <pc:docMk/>
            <pc:sldMk cId="4070079541" sldId="1484"/>
            <ac:spMk id="270" creationId="{0AEB6C24-A58F-4E00-94C0-690F8EC08715}"/>
          </ac:spMkLst>
        </pc:spChg>
        <pc:spChg chg="add mod">
          <ac:chgData name="Sam Mesel" userId="1ee7badb-5d1f-4872-89ae-dcf7b71f276a" providerId="ADAL" clId="{EEA38070-6794-41D2-BF8A-0742E5EDBF80}" dt="2020-03-03T03:05:06.693" v="237" actId="1037"/>
          <ac:spMkLst>
            <pc:docMk/>
            <pc:sldMk cId="4070079541" sldId="1484"/>
            <ac:spMk id="271" creationId="{699A8BFE-C7B9-4C14-BB43-3D7AFDFE4BE6}"/>
          </ac:spMkLst>
        </pc:spChg>
        <pc:spChg chg="add mod">
          <ac:chgData name="Sam Mesel" userId="1ee7badb-5d1f-4872-89ae-dcf7b71f276a" providerId="ADAL" clId="{EEA38070-6794-41D2-BF8A-0742E5EDBF80}" dt="2020-03-03T03:05:06.693" v="237" actId="1037"/>
          <ac:spMkLst>
            <pc:docMk/>
            <pc:sldMk cId="4070079541" sldId="1484"/>
            <ac:spMk id="273" creationId="{C2AC0657-1A9C-4EFA-86AA-368C1B201EE3}"/>
          </ac:spMkLst>
        </pc:spChg>
        <pc:spChg chg="add mod">
          <ac:chgData name="Sam Mesel" userId="1ee7badb-5d1f-4872-89ae-dcf7b71f276a" providerId="ADAL" clId="{EEA38070-6794-41D2-BF8A-0742E5EDBF80}" dt="2020-03-03T03:05:06.693" v="237" actId="1037"/>
          <ac:spMkLst>
            <pc:docMk/>
            <pc:sldMk cId="4070079541" sldId="1484"/>
            <ac:spMk id="274" creationId="{590CD291-5CE9-47AB-A029-7958A1FB7786}"/>
          </ac:spMkLst>
        </pc:spChg>
        <pc:spChg chg="add mod">
          <ac:chgData name="Sam Mesel" userId="1ee7badb-5d1f-4872-89ae-dcf7b71f276a" providerId="ADAL" clId="{EEA38070-6794-41D2-BF8A-0742E5EDBF80}" dt="2020-03-03T03:05:06.693" v="237" actId="1037"/>
          <ac:spMkLst>
            <pc:docMk/>
            <pc:sldMk cId="4070079541" sldId="1484"/>
            <ac:spMk id="275" creationId="{405972B5-7823-4F3C-A1F4-90F282369520}"/>
          </ac:spMkLst>
        </pc:spChg>
        <pc:spChg chg="add mod">
          <ac:chgData name="Sam Mesel" userId="1ee7badb-5d1f-4872-89ae-dcf7b71f276a" providerId="ADAL" clId="{EEA38070-6794-41D2-BF8A-0742E5EDBF80}" dt="2020-03-03T03:05:06.693" v="237" actId="1037"/>
          <ac:spMkLst>
            <pc:docMk/>
            <pc:sldMk cId="4070079541" sldId="1484"/>
            <ac:spMk id="277" creationId="{19738CE1-7F3C-4E3C-8B4B-29F43A84EDE3}"/>
          </ac:spMkLst>
        </pc:spChg>
        <pc:spChg chg="add mod">
          <ac:chgData name="Sam Mesel" userId="1ee7badb-5d1f-4872-89ae-dcf7b71f276a" providerId="ADAL" clId="{EEA38070-6794-41D2-BF8A-0742E5EDBF80}" dt="2020-03-03T03:05:06.693" v="237" actId="1037"/>
          <ac:spMkLst>
            <pc:docMk/>
            <pc:sldMk cId="4070079541" sldId="1484"/>
            <ac:spMk id="278" creationId="{06020C09-59CE-420A-940D-E0F29CDD67D5}"/>
          </ac:spMkLst>
        </pc:spChg>
        <pc:spChg chg="add mod">
          <ac:chgData name="Sam Mesel" userId="1ee7badb-5d1f-4872-89ae-dcf7b71f276a" providerId="ADAL" clId="{EEA38070-6794-41D2-BF8A-0742E5EDBF80}" dt="2020-03-03T03:05:06.693" v="237" actId="1037"/>
          <ac:spMkLst>
            <pc:docMk/>
            <pc:sldMk cId="4070079541" sldId="1484"/>
            <ac:spMk id="279" creationId="{0670CAC1-BD29-43E1-8C26-C5B1E6B437FE}"/>
          </ac:spMkLst>
        </pc:spChg>
        <pc:spChg chg="add mod">
          <ac:chgData name="Sam Mesel" userId="1ee7badb-5d1f-4872-89ae-dcf7b71f276a" providerId="ADAL" clId="{EEA38070-6794-41D2-BF8A-0742E5EDBF80}" dt="2020-03-03T03:05:06.693" v="237" actId="1037"/>
          <ac:spMkLst>
            <pc:docMk/>
            <pc:sldMk cId="4070079541" sldId="1484"/>
            <ac:spMk id="281" creationId="{3740A316-F6C3-4F43-9725-C0FA827366D4}"/>
          </ac:spMkLst>
        </pc:spChg>
        <pc:spChg chg="add mod">
          <ac:chgData name="Sam Mesel" userId="1ee7badb-5d1f-4872-89ae-dcf7b71f276a" providerId="ADAL" clId="{EEA38070-6794-41D2-BF8A-0742E5EDBF80}" dt="2020-03-03T03:05:06.693" v="237" actId="1037"/>
          <ac:spMkLst>
            <pc:docMk/>
            <pc:sldMk cId="4070079541" sldId="1484"/>
            <ac:spMk id="282" creationId="{D2CAE211-CEDE-4794-AF0E-8CE2B55C5516}"/>
          </ac:spMkLst>
        </pc:spChg>
        <pc:spChg chg="add mod">
          <ac:chgData name="Sam Mesel" userId="1ee7badb-5d1f-4872-89ae-dcf7b71f276a" providerId="ADAL" clId="{EEA38070-6794-41D2-BF8A-0742E5EDBF80}" dt="2020-03-03T03:05:06.693" v="237" actId="1037"/>
          <ac:spMkLst>
            <pc:docMk/>
            <pc:sldMk cId="4070079541" sldId="1484"/>
            <ac:spMk id="283" creationId="{8A0B0511-2ED2-4563-8B97-9EF2C8F99673}"/>
          </ac:spMkLst>
        </pc:spChg>
        <pc:spChg chg="add mod">
          <ac:chgData name="Sam Mesel" userId="1ee7badb-5d1f-4872-89ae-dcf7b71f276a" providerId="ADAL" clId="{EEA38070-6794-41D2-BF8A-0742E5EDBF80}" dt="2020-03-03T03:05:06.693" v="237" actId="1037"/>
          <ac:spMkLst>
            <pc:docMk/>
            <pc:sldMk cId="4070079541" sldId="1484"/>
            <ac:spMk id="284" creationId="{B79FB5ED-2261-4D26-8CE7-A4DCDEF5BEEA}"/>
          </ac:spMkLst>
        </pc:spChg>
        <pc:spChg chg="add mod">
          <ac:chgData name="Sam Mesel" userId="1ee7badb-5d1f-4872-89ae-dcf7b71f276a" providerId="ADAL" clId="{EEA38070-6794-41D2-BF8A-0742E5EDBF80}" dt="2020-03-03T03:05:06.693" v="237" actId="1037"/>
          <ac:spMkLst>
            <pc:docMk/>
            <pc:sldMk cId="4070079541" sldId="1484"/>
            <ac:spMk id="285" creationId="{715C9762-DA06-4161-9B1C-2430F6FC9898}"/>
          </ac:spMkLst>
        </pc:spChg>
        <pc:spChg chg="add mod">
          <ac:chgData name="Sam Mesel" userId="1ee7badb-5d1f-4872-89ae-dcf7b71f276a" providerId="ADAL" clId="{EEA38070-6794-41D2-BF8A-0742E5EDBF80}" dt="2020-03-03T03:05:06.693" v="237" actId="1037"/>
          <ac:spMkLst>
            <pc:docMk/>
            <pc:sldMk cId="4070079541" sldId="1484"/>
            <ac:spMk id="286" creationId="{4F3E29D6-CE7C-4844-B795-EEF5EEAB940B}"/>
          </ac:spMkLst>
        </pc:spChg>
        <pc:spChg chg="add mod">
          <ac:chgData name="Sam Mesel" userId="1ee7badb-5d1f-4872-89ae-dcf7b71f276a" providerId="ADAL" clId="{EEA38070-6794-41D2-BF8A-0742E5EDBF80}" dt="2020-03-03T03:05:06.693" v="237" actId="1037"/>
          <ac:spMkLst>
            <pc:docMk/>
            <pc:sldMk cId="4070079541" sldId="1484"/>
            <ac:spMk id="287" creationId="{69783D41-2B58-4DC9-9853-8A95CF9181E1}"/>
          </ac:spMkLst>
        </pc:spChg>
        <pc:grpChg chg="mod">
          <ac:chgData name="Sam Mesel" userId="1ee7badb-5d1f-4872-89ae-dcf7b71f276a" providerId="ADAL" clId="{EEA38070-6794-41D2-BF8A-0742E5EDBF80}" dt="2020-03-03T03:02:22.703" v="170" actId="1076"/>
          <ac:grpSpMkLst>
            <pc:docMk/>
            <pc:sldMk cId="4070079541" sldId="1484"/>
            <ac:grpSpMk id="191" creationId="{00000000-0000-0000-0000-000000000000}"/>
          </ac:grpSpMkLst>
        </pc:grpChg>
        <pc:cxnChg chg="del">
          <ac:chgData name="Sam Mesel" userId="1ee7badb-5d1f-4872-89ae-dcf7b71f276a" providerId="ADAL" clId="{EEA38070-6794-41D2-BF8A-0742E5EDBF80}" dt="2020-03-03T03:01:57.782" v="167" actId="478"/>
          <ac:cxnSpMkLst>
            <pc:docMk/>
            <pc:sldMk cId="4070079541" sldId="1484"/>
            <ac:cxnSpMk id="108"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12"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16"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20"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24"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28"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32"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36"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40"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44"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48"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52"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56"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60"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64"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68"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72"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76"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80"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84" creationId="{00000000-0000-0000-0000-000000000000}"/>
          </ac:cxnSpMkLst>
        </pc:cxnChg>
        <pc:cxnChg chg="add mod">
          <ac:chgData name="Sam Mesel" userId="1ee7badb-5d1f-4872-89ae-dcf7b71f276a" providerId="ADAL" clId="{EEA38070-6794-41D2-BF8A-0742E5EDBF80}" dt="2020-03-03T03:05:06.693" v="237" actId="1037"/>
          <ac:cxnSpMkLst>
            <pc:docMk/>
            <pc:sldMk cId="4070079541" sldId="1484"/>
            <ac:cxnSpMk id="198" creationId="{0C23D2A6-DA9F-4FB7-BC03-0C7E08884117}"/>
          </ac:cxnSpMkLst>
        </pc:cxnChg>
        <pc:cxnChg chg="add mod">
          <ac:chgData name="Sam Mesel" userId="1ee7badb-5d1f-4872-89ae-dcf7b71f276a" providerId="ADAL" clId="{EEA38070-6794-41D2-BF8A-0742E5EDBF80}" dt="2020-03-03T03:05:06.693" v="237" actId="1037"/>
          <ac:cxnSpMkLst>
            <pc:docMk/>
            <pc:sldMk cId="4070079541" sldId="1484"/>
            <ac:cxnSpMk id="202" creationId="{28DAFF86-7C28-4D65-B926-6C1A56BF6D73}"/>
          </ac:cxnSpMkLst>
        </pc:cxnChg>
        <pc:cxnChg chg="add mod">
          <ac:chgData name="Sam Mesel" userId="1ee7badb-5d1f-4872-89ae-dcf7b71f276a" providerId="ADAL" clId="{EEA38070-6794-41D2-BF8A-0742E5EDBF80}" dt="2020-03-03T03:05:06.693" v="237" actId="1037"/>
          <ac:cxnSpMkLst>
            <pc:docMk/>
            <pc:sldMk cId="4070079541" sldId="1484"/>
            <ac:cxnSpMk id="206" creationId="{93A401ED-C782-4371-A34D-A0817A4AA23B}"/>
          </ac:cxnSpMkLst>
        </pc:cxnChg>
        <pc:cxnChg chg="mod">
          <ac:chgData name="Sam Mesel" userId="1ee7badb-5d1f-4872-89ae-dcf7b71f276a" providerId="ADAL" clId="{EEA38070-6794-41D2-BF8A-0742E5EDBF80}" dt="2020-03-03T03:02:22.703" v="170" actId="1076"/>
          <ac:cxnSpMkLst>
            <pc:docMk/>
            <pc:sldMk cId="4070079541" sldId="1484"/>
            <ac:cxnSpMk id="207" creationId="{00000000-0000-0000-0000-000000000000}"/>
          </ac:cxnSpMkLst>
        </pc:cxnChg>
        <pc:cxnChg chg="mod">
          <ac:chgData name="Sam Mesel" userId="1ee7badb-5d1f-4872-89ae-dcf7b71f276a" providerId="ADAL" clId="{EEA38070-6794-41D2-BF8A-0742E5EDBF80}" dt="2020-03-03T03:02:22.703" v="170" actId="1076"/>
          <ac:cxnSpMkLst>
            <pc:docMk/>
            <pc:sldMk cId="4070079541" sldId="1484"/>
            <ac:cxnSpMk id="208" creationId="{00000000-0000-0000-0000-000000000000}"/>
          </ac:cxnSpMkLst>
        </pc:cxnChg>
        <pc:cxnChg chg="add mod">
          <ac:chgData name="Sam Mesel" userId="1ee7badb-5d1f-4872-89ae-dcf7b71f276a" providerId="ADAL" clId="{EEA38070-6794-41D2-BF8A-0742E5EDBF80}" dt="2020-03-03T03:05:06.693" v="237" actId="1037"/>
          <ac:cxnSpMkLst>
            <pc:docMk/>
            <pc:sldMk cId="4070079541" sldId="1484"/>
            <ac:cxnSpMk id="216" creationId="{019088B6-0165-4D77-96D8-76E23D0B9099}"/>
          </ac:cxnSpMkLst>
        </pc:cxnChg>
        <pc:cxnChg chg="add mod">
          <ac:chgData name="Sam Mesel" userId="1ee7badb-5d1f-4872-89ae-dcf7b71f276a" providerId="ADAL" clId="{EEA38070-6794-41D2-BF8A-0742E5EDBF80}" dt="2020-03-03T03:05:06.693" v="237" actId="1037"/>
          <ac:cxnSpMkLst>
            <pc:docMk/>
            <pc:sldMk cId="4070079541" sldId="1484"/>
            <ac:cxnSpMk id="220" creationId="{1ABBB4D6-274D-41A6-B56B-B872531CAF71}"/>
          </ac:cxnSpMkLst>
        </pc:cxnChg>
        <pc:cxnChg chg="add mod">
          <ac:chgData name="Sam Mesel" userId="1ee7badb-5d1f-4872-89ae-dcf7b71f276a" providerId="ADAL" clId="{EEA38070-6794-41D2-BF8A-0742E5EDBF80}" dt="2020-03-03T03:05:06.693" v="237" actId="1037"/>
          <ac:cxnSpMkLst>
            <pc:docMk/>
            <pc:sldMk cId="4070079541" sldId="1484"/>
            <ac:cxnSpMk id="224" creationId="{C292E68D-C6E5-4D5D-B991-976FF334A218}"/>
          </ac:cxnSpMkLst>
        </pc:cxnChg>
        <pc:cxnChg chg="add mod">
          <ac:chgData name="Sam Mesel" userId="1ee7badb-5d1f-4872-89ae-dcf7b71f276a" providerId="ADAL" clId="{EEA38070-6794-41D2-BF8A-0742E5EDBF80}" dt="2020-03-03T03:05:06.693" v="237" actId="1037"/>
          <ac:cxnSpMkLst>
            <pc:docMk/>
            <pc:sldMk cId="4070079541" sldId="1484"/>
            <ac:cxnSpMk id="228" creationId="{8911B486-B292-49A4-8B49-63D09F7127F3}"/>
          </ac:cxnSpMkLst>
        </pc:cxnChg>
        <pc:cxnChg chg="add mod">
          <ac:chgData name="Sam Mesel" userId="1ee7badb-5d1f-4872-89ae-dcf7b71f276a" providerId="ADAL" clId="{EEA38070-6794-41D2-BF8A-0742E5EDBF80}" dt="2020-03-03T03:05:06.693" v="237" actId="1037"/>
          <ac:cxnSpMkLst>
            <pc:docMk/>
            <pc:sldMk cId="4070079541" sldId="1484"/>
            <ac:cxnSpMk id="232" creationId="{71575159-C18D-4205-BC21-6BA6FFFB77C3}"/>
          </ac:cxnSpMkLst>
        </pc:cxnChg>
        <pc:cxnChg chg="add mod">
          <ac:chgData name="Sam Mesel" userId="1ee7badb-5d1f-4872-89ae-dcf7b71f276a" providerId="ADAL" clId="{EEA38070-6794-41D2-BF8A-0742E5EDBF80}" dt="2020-03-03T03:05:06.693" v="237" actId="1037"/>
          <ac:cxnSpMkLst>
            <pc:docMk/>
            <pc:sldMk cId="4070079541" sldId="1484"/>
            <ac:cxnSpMk id="236" creationId="{797103DF-B0B0-4497-8BE6-7CFC8D85CDC4}"/>
          </ac:cxnSpMkLst>
        </pc:cxnChg>
        <pc:cxnChg chg="add mod">
          <ac:chgData name="Sam Mesel" userId="1ee7badb-5d1f-4872-89ae-dcf7b71f276a" providerId="ADAL" clId="{EEA38070-6794-41D2-BF8A-0742E5EDBF80}" dt="2020-03-03T03:05:06.693" v="237" actId="1037"/>
          <ac:cxnSpMkLst>
            <pc:docMk/>
            <pc:sldMk cId="4070079541" sldId="1484"/>
            <ac:cxnSpMk id="240" creationId="{7C89A2DD-F5E4-4A6A-A7B5-B390FAAB86CD}"/>
          </ac:cxnSpMkLst>
        </pc:cxnChg>
        <pc:cxnChg chg="add mod">
          <ac:chgData name="Sam Mesel" userId="1ee7badb-5d1f-4872-89ae-dcf7b71f276a" providerId="ADAL" clId="{EEA38070-6794-41D2-BF8A-0742E5EDBF80}" dt="2020-03-03T03:05:06.693" v="237" actId="1037"/>
          <ac:cxnSpMkLst>
            <pc:docMk/>
            <pc:sldMk cId="4070079541" sldId="1484"/>
            <ac:cxnSpMk id="244" creationId="{F6DE5368-ECB0-477C-BD04-36582D2AED3A}"/>
          </ac:cxnSpMkLst>
        </pc:cxnChg>
        <pc:cxnChg chg="add mod">
          <ac:chgData name="Sam Mesel" userId="1ee7badb-5d1f-4872-89ae-dcf7b71f276a" providerId="ADAL" clId="{EEA38070-6794-41D2-BF8A-0742E5EDBF80}" dt="2020-03-03T03:05:06.693" v="237" actId="1037"/>
          <ac:cxnSpMkLst>
            <pc:docMk/>
            <pc:sldMk cId="4070079541" sldId="1484"/>
            <ac:cxnSpMk id="248" creationId="{33A4602F-DEC3-474B-9F97-41B0B8BE1523}"/>
          </ac:cxnSpMkLst>
        </pc:cxnChg>
        <pc:cxnChg chg="add mod">
          <ac:chgData name="Sam Mesel" userId="1ee7badb-5d1f-4872-89ae-dcf7b71f276a" providerId="ADAL" clId="{EEA38070-6794-41D2-BF8A-0742E5EDBF80}" dt="2020-03-03T03:05:06.693" v="237" actId="1037"/>
          <ac:cxnSpMkLst>
            <pc:docMk/>
            <pc:sldMk cId="4070079541" sldId="1484"/>
            <ac:cxnSpMk id="252" creationId="{C1854057-11DB-4C89-A2CA-52BA33B5124E}"/>
          </ac:cxnSpMkLst>
        </pc:cxnChg>
        <pc:cxnChg chg="add mod">
          <ac:chgData name="Sam Mesel" userId="1ee7badb-5d1f-4872-89ae-dcf7b71f276a" providerId="ADAL" clId="{EEA38070-6794-41D2-BF8A-0742E5EDBF80}" dt="2020-03-03T03:05:06.693" v="237" actId="1037"/>
          <ac:cxnSpMkLst>
            <pc:docMk/>
            <pc:sldMk cId="4070079541" sldId="1484"/>
            <ac:cxnSpMk id="256" creationId="{5EF06E32-A5B0-429F-A7BC-5C1C49AE7AA8}"/>
          </ac:cxnSpMkLst>
        </pc:cxnChg>
        <pc:cxnChg chg="add mod">
          <ac:chgData name="Sam Mesel" userId="1ee7badb-5d1f-4872-89ae-dcf7b71f276a" providerId="ADAL" clId="{EEA38070-6794-41D2-BF8A-0742E5EDBF80}" dt="2020-03-03T03:05:06.693" v="237" actId="1037"/>
          <ac:cxnSpMkLst>
            <pc:docMk/>
            <pc:sldMk cId="4070079541" sldId="1484"/>
            <ac:cxnSpMk id="260" creationId="{8CBE6966-BEFD-4F18-A289-C4170C006C67}"/>
          </ac:cxnSpMkLst>
        </pc:cxnChg>
        <pc:cxnChg chg="add mod">
          <ac:chgData name="Sam Mesel" userId="1ee7badb-5d1f-4872-89ae-dcf7b71f276a" providerId="ADAL" clId="{EEA38070-6794-41D2-BF8A-0742E5EDBF80}" dt="2020-03-03T03:05:06.693" v="237" actId="1037"/>
          <ac:cxnSpMkLst>
            <pc:docMk/>
            <pc:sldMk cId="4070079541" sldId="1484"/>
            <ac:cxnSpMk id="264" creationId="{1B124AFE-5500-4CD0-848E-D4D1267D658B}"/>
          </ac:cxnSpMkLst>
        </pc:cxnChg>
        <pc:cxnChg chg="add mod">
          <ac:chgData name="Sam Mesel" userId="1ee7badb-5d1f-4872-89ae-dcf7b71f276a" providerId="ADAL" clId="{EEA38070-6794-41D2-BF8A-0742E5EDBF80}" dt="2020-03-03T03:05:06.693" v="237" actId="1037"/>
          <ac:cxnSpMkLst>
            <pc:docMk/>
            <pc:sldMk cId="4070079541" sldId="1484"/>
            <ac:cxnSpMk id="268" creationId="{5989172B-F381-4B2B-9168-70FC7BD70A71}"/>
          </ac:cxnSpMkLst>
        </pc:cxnChg>
        <pc:cxnChg chg="add mod">
          <ac:chgData name="Sam Mesel" userId="1ee7badb-5d1f-4872-89ae-dcf7b71f276a" providerId="ADAL" clId="{EEA38070-6794-41D2-BF8A-0742E5EDBF80}" dt="2020-03-03T03:05:06.693" v="237" actId="1037"/>
          <ac:cxnSpMkLst>
            <pc:docMk/>
            <pc:sldMk cId="4070079541" sldId="1484"/>
            <ac:cxnSpMk id="272" creationId="{C6DDC8D6-24E1-4A4D-BD9A-6588FDC8033C}"/>
          </ac:cxnSpMkLst>
        </pc:cxnChg>
        <pc:cxnChg chg="add mod">
          <ac:chgData name="Sam Mesel" userId="1ee7badb-5d1f-4872-89ae-dcf7b71f276a" providerId="ADAL" clId="{EEA38070-6794-41D2-BF8A-0742E5EDBF80}" dt="2020-03-03T03:05:06.693" v="237" actId="1037"/>
          <ac:cxnSpMkLst>
            <pc:docMk/>
            <pc:sldMk cId="4070079541" sldId="1484"/>
            <ac:cxnSpMk id="276" creationId="{FF6F8280-3D49-40A3-9133-75B9CB2B5E07}"/>
          </ac:cxnSpMkLst>
        </pc:cxnChg>
        <pc:cxnChg chg="add mod">
          <ac:chgData name="Sam Mesel" userId="1ee7badb-5d1f-4872-89ae-dcf7b71f276a" providerId="ADAL" clId="{EEA38070-6794-41D2-BF8A-0742E5EDBF80}" dt="2020-03-03T03:05:06.693" v="237" actId="1037"/>
          <ac:cxnSpMkLst>
            <pc:docMk/>
            <pc:sldMk cId="4070079541" sldId="1484"/>
            <ac:cxnSpMk id="280" creationId="{E46BF5B6-2763-4F6D-895E-36F3224AFAB1}"/>
          </ac:cxnSpMkLst>
        </pc:cxnChg>
      </pc:sldChg>
      <pc:sldChg chg="modSp mod">
        <pc:chgData name="Sam Mesel" userId="1ee7badb-5d1f-4872-89ae-dcf7b71f276a" providerId="ADAL" clId="{EEA38070-6794-41D2-BF8A-0742E5EDBF80}" dt="2020-03-03T03:14:08.325" v="395" actId="20577"/>
        <pc:sldMkLst>
          <pc:docMk/>
          <pc:sldMk cId="459353773" sldId="1496"/>
        </pc:sldMkLst>
        <pc:spChg chg="mod">
          <ac:chgData name="Sam Mesel" userId="1ee7badb-5d1f-4872-89ae-dcf7b71f276a" providerId="ADAL" clId="{EEA38070-6794-41D2-BF8A-0742E5EDBF80}" dt="2020-03-03T03:14:08.325" v="395" actId="20577"/>
          <ac:spMkLst>
            <pc:docMk/>
            <pc:sldMk cId="459353773" sldId="1496"/>
            <ac:spMk id="2" creationId="{00000000-0000-0000-0000-000000000000}"/>
          </ac:spMkLst>
        </pc:spChg>
      </pc:sldChg>
      <pc:sldChg chg="del">
        <pc:chgData name="Sam Mesel" userId="1ee7badb-5d1f-4872-89ae-dcf7b71f276a" providerId="ADAL" clId="{EEA38070-6794-41D2-BF8A-0742E5EDBF80}" dt="2020-03-03T03:39:13.488" v="567" actId="2696"/>
        <pc:sldMkLst>
          <pc:docMk/>
          <pc:sldMk cId="2692612795" sldId="1503"/>
        </pc:sldMkLst>
      </pc:sldChg>
      <pc:sldChg chg="addSp delSp modSp mod modAnim modNotesTx">
        <pc:chgData name="Sam Mesel" userId="1ee7badb-5d1f-4872-89ae-dcf7b71f276a" providerId="ADAL" clId="{EEA38070-6794-41D2-BF8A-0742E5EDBF80}" dt="2020-03-18T19:10:14.439" v="942" actId="20577"/>
        <pc:sldMkLst>
          <pc:docMk/>
          <pc:sldMk cId="4174331227" sldId="1506"/>
        </pc:sldMkLst>
        <pc:spChg chg="add mod">
          <ac:chgData name="Sam Mesel" userId="1ee7badb-5d1f-4872-89ae-dcf7b71f276a" providerId="ADAL" clId="{EEA38070-6794-41D2-BF8A-0742E5EDBF80}" dt="2020-03-03T03:13:39.822" v="391" actId="207"/>
          <ac:spMkLst>
            <pc:docMk/>
            <pc:sldMk cId="4174331227" sldId="1506"/>
            <ac:spMk id="6" creationId="{755C910C-124C-412E-9FFE-A43C8B0C7589}"/>
          </ac:spMkLst>
        </pc:spChg>
        <pc:spChg chg="add del mod">
          <ac:chgData name="Sam Mesel" userId="1ee7badb-5d1f-4872-89ae-dcf7b71f276a" providerId="ADAL" clId="{EEA38070-6794-41D2-BF8A-0742E5EDBF80}" dt="2020-03-03T03:11:58.709" v="386"/>
          <ac:spMkLst>
            <pc:docMk/>
            <pc:sldMk cId="4174331227" sldId="1506"/>
            <ac:spMk id="22" creationId="{3E311700-111B-499E-9F36-D68E049622C3}"/>
          </ac:spMkLst>
        </pc:spChg>
        <pc:spChg chg="add del mod">
          <ac:chgData name="Sam Mesel" userId="1ee7badb-5d1f-4872-89ae-dcf7b71f276a" providerId="ADAL" clId="{EEA38070-6794-41D2-BF8A-0742E5EDBF80}" dt="2020-03-03T03:11:58.709" v="386"/>
          <ac:spMkLst>
            <pc:docMk/>
            <pc:sldMk cId="4174331227" sldId="1506"/>
            <ac:spMk id="23" creationId="{2C01EBAE-635E-4408-BCD9-ADFF2CB74413}"/>
          </ac:spMkLst>
        </pc:spChg>
        <pc:spChg chg="add del mod">
          <ac:chgData name="Sam Mesel" userId="1ee7badb-5d1f-4872-89ae-dcf7b71f276a" providerId="ADAL" clId="{EEA38070-6794-41D2-BF8A-0742E5EDBF80}" dt="2020-03-03T03:11:58.709" v="386"/>
          <ac:spMkLst>
            <pc:docMk/>
            <pc:sldMk cId="4174331227" sldId="1506"/>
            <ac:spMk id="24" creationId="{CF092DBC-7C9F-4087-81D5-5950FB3A5811}"/>
          </ac:spMkLst>
        </pc:spChg>
        <pc:spChg chg="add del mod">
          <ac:chgData name="Sam Mesel" userId="1ee7badb-5d1f-4872-89ae-dcf7b71f276a" providerId="ADAL" clId="{EEA38070-6794-41D2-BF8A-0742E5EDBF80}" dt="2020-03-03T03:11:58.709" v="386"/>
          <ac:spMkLst>
            <pc:docMk/>
            <pc:sldMk cId="4174331227" sldId="1506"/>
            <ac:spMk id="25" creationId="{FA774B6D-DCF4-4692-BD7F-AE06D2345CC9}"/>
          </ac:spMkLst>
        </pc:spChg>
        <pc:spChg chg="add del mod">
          <ac:chgData name="Sam Mesel" userId="1ee7badb-5d1f-4872-89ae-dcf7b71f276a" providerId="ADAL" clId="{EEA38070-6794-41D2-BF8A-0742E5EDBF80}" dt="2020-03-03T03:11:58.709" v="386"/>
          <ac:spMkLst>
            <pc:docMk/>
            <pc:sldMk cId="4174331227" sldId="1506"/>
            <ac:spMk id="26" creationId="{6DB143D5-DB59-4E5E-8A16-CF99046A1F84}"/>
          </ac:spMkLst>
        </pc:spChg>
        <pc:spChg chg="add del mod">
          <ac:chgData name="Sam Mesel" userId="1ee7badb-5d1f-4872-89ae-dcf7b71f276a" providerId="ADAL" clId="{EEA38070-6794-41D2-BF8A-0742E5EDBF80}" dt="2020-03-03T03:11:58.709" v="386"/>
          <ac:spMkLst>
            <pc:docMk/>
            <pc:sldMk cId="4174331227" sldId="1506"/>
            <ac:spMk id="27" creationId="{BB62DF20-989C-416B-8C5D-566788F06AEC}"/>
          </ac:spMkLst>
        </pc:spChg>
        <pc:spChg chg="add del mod">
          <ac:chgData name="Sam Mesel" userId="1ee7badb-5d1f-4872-89ae-dcf7b71f276a" providerId="ADAL" clId="{EEA38070-6794-41D2-BF8A-0742E5EDBF80}" dt="2020-03-03T03:11:58.709" v="386"/>
          <ac:spMkLst>
            <pc:docMk/>
            <pc:sldMk cId="4174331227" sldId="1506"/>
            <ac:spMk id="28" creationId="{BCDDB6D9-7ED0-415A-A278-263C96330DDB}"/>
          </ac:spMkLst>
        </pc:spChg>
        <pc:spChg chg="add del mod">
          <ac:chgData name="Sam Mesel" userId="1ee7badb-5d1f-4872-89ae-dcf7b71f276a" providerId="ADAL" clId="{EEA38070-6794-41D2-BF8A-0742E5EDBF80}" dt="2020-03-03T03:11:58.709" v="386"/>
          <ac:spMkLst>
            <pc:docMk/>
            <pc:sldMk cId="4174331227" sldId="1506"/>
            <ac:spMk id="29" creationId="{E74A2773-8987-4407-9028-58D34DD09CA6}"/>
          </ac:spMkLst>
        </pc:spChg>
        <pc:spChg chg="add del mod">
          <ac:chgData name="Sam Mesel" userId="1ee7badb-5d1f-4872-89ae-dcf7b71f276a" providerId="ADAL" clId="{EEA38070-6794-41D2-BF8A-0742E5EDBF80}" dt="2020-03-03T03:11:58.709" v="386"/>
          <ac:spMkLst>
            <pc:docMk/>
            <pc:sldMk cId="4174331227" sldId="1506"/>
            <ac:spMk id="30" creationId="{13B8C763-8702-441C-8064-9F3615B0233C}"/>
          </ac:spMkLst>
        </pc:spChg>
        <pc:spChg chg="add del mod">
          <ac:chgData name="Sam Mesel" userId="1ee7badb-5d1f-4872-89ae-dcf7b71f276a" providerId="ADAL" clId="{EEA38070-6794-41D2-BF8A-0742E5EDBF80}" dt="2020-03-03T03:11:58.709" v="386"/>
          <ac:spMkLst>
            <pc:docMk/>
            <pc:sldMk cId="4174331227" sldId="1506"/>
            <ac:spMk id="31" creationId="{96390CF8-9544-4520-B10D-0F0D02058A4E}"/>
          </ac:spMkLst>
        </pc:spChg>
        <pc:spChg chg="add del mod">
          <ac:chgData name="Sam Mesel" userId="1ee7badb-5d1f-4872-89ae-dcf7b71f276a" providerId="ADAL" clId="{EEA38070-6794-41D2-BF8A-0742E5EDBF80}" dt="2020-03-03T03:11:58.709" v="386"/>
          <ac:spMkLst>
            <pc:docMk/>
            <pc:sldMk cId="4174331227" sldId="1506"/>
            <ac:spMk id="32" creationId="{B6331FF6-8386-4447-BF5C-82F446610AF4}"/>
          </ac:spMkLst>
        </pc:spChg>
        <pc:spChg chg="add del mod">
          <ac:chgData name="Sam Mesel" userId="1ee7badb-5d1f-4872-89ae-dcf7b71f276a" providerId="ADAL" clId="{EEA38070-6794-41D2-BF8A-0742E5EDBF80}" dt="2020-03-03T03:11:58.709" v="386"/>
          <ac:spMkLst>
            <pc:docMk/>
            <pc:sldMk cId="4174331227" sldId="1506"/>
            <ac:spMk id="33" creationId="{D4164D9F-5192-40F6-8813-93D48E079DE4}"/>
          </ac:spMkLst>
        </pc:spChg>
        <pc:spChg chg="add del mod">
          <ac:chgData name="Sam Mesel" userId="1ee7badb-5d1f-4872-89ae-dcf7b71f276a" providerId="ADAL" clId="{EEA38070-6794-41D2-BF8A-0742E5EDBF80}" dt="2020-03-03T03:11:58.709" v="386"/>
          <ac:spMkLst>
            <pc:docMk/>
            <pc:sldMk cId="4174331227" sldId="1506"/>
            <ac:spMk id="34" creationId="{D7A77AE8-586A-47EE-9D4A-A29C21986019}"/>
          </ac:spMkLst>
        </pc:spChg>
        <pc:spChg chg="add del mod">
          <ac:chgData name="Sam Mesel" userId="1ee7badb-5d1f-4872-89ae-dcf7b71f276a" providerId="ADAL" clId="{EEA38070-6794-41D2-BF8A-0742E5EDBF80}" dt="2020-03-03T03:11:58.709" v="386"/>
          <ac:spMkLst>
            <pc:docMk/>
            <pc:sldMk cId="4174331227" sldId="1506"/>
            <ac:spMk id="35" creationId="{346D1903-3638-43D8-9E9E-FF224EB02F94}"/>
          </ac:spMkLst>
        </pc:spChg>
        <pc:spChg chg="del">
          <ac:chgData name="Sam Mesel" userId="1ee7badb-5d1f-4872-89ae-dcf7b71f276a" providerId="ADAL" clId="{EEA38070-6794-41D2-BF8A-0742E5EDBF80}" dt="2020-03-03T03:11:34.352" v="333" actId="478"/>
          <ac:spMkLst>
            <pc:docMk/>
            <pc:sldMk cId="4174331227" sldId="1506"/>
            <ac:spMk id="40" creationId="{00000000-0000-0000-0000-000000000000}"/>
          </ac:spMkLst>
        </pc:spChg>
        <pc:spChg chg="del">
          <ac:chgData name="Sam Mesel" userId="1ee7badb-5d1f-4872-89ae-dcf7b71f276a" providerId="ADAL" clId="{EEA38070-6794-41D2-BF8A-0742E5EDBF80}" dt="2020-03-03T03:11:39.515" v="334" actId="478"/>
          <ac:spMkLst>
            <pc:docMk/>
            <pc:sldMk cId="4174331227" sldId="1506"/>
            <ac:spMk id="42" creationId="{00000000-0000-0000-0000-000000000000}"/>
          </ac:spMkLst>
        </pc:spChg>
        <pc:spChg chg="add mod">
          <ac:chgData name="Sam Mesel" userId="1ee7badb-5d1f-4872-89ae-dcf7b71f276a" providerId="ADAL" clId="{EEA38070-6794-41D2-BF8A-0742E5EDBF80}" dt="2020-03-03T03:12:23.080" v="388" actId="1076"/>
          <ac:spMkLst>
            <pc:docMk/>
            <pc:sldMk cId="4174331227" sldId="1506"/>
            <ac:spMk id="50" creationId="{C265A879-66C7-4D62-8F2F-5933AD37294D}"/>
          </ac:spMkLst>
        </pc:spChg>
        <pc:spChg chg="add mod">
          <ac:chgData name="Sam Mesel" userId="1ee7badb-5d1f-4872-89ae-dcf7b71f276a" providerId="ADAL" clId="{EEA38070-6794-41D2-BF8A-0742E5EDBF80}" dt="2020-03-03T03:12:23.080" v="388" actId="1076"/>
          <ac:spMkLst>
            <pc:docMk/>
            <pc:sldMk cId="4174331227" sldId="1506"/>
            <ac:spMk id="51" creationId="{FE2A802F-2F48-41EC-B7A6-2A971F26ADC8}"/>
          </ac:spMkLst>
        </pc:spChg>
        <pc:spChg chg="add mod">
          <ac:chgData name="Sam Mesel" userId="1ee7badb-5d1f-4872-89ae-dcf7b71f276a" providerId="ADAL" clId="{EEA38070-6794-41D2-BF8A-0742E5EDBF80}" dt="2020-03-03T03:12:23.080" v="388" actId="1076"/>
          <ac:spMkLst>
            <pc:docMk/>
            <pc:sldMk cId="4174331227" sldId="1506"/>
            <ac:spMk id="52" creationId="{C7B2B81A-2AE1-4F49-BBC4-DA5974A9B657}"/>
          </ac:spMkLst>
        </pc:spChg>
        <pc:spChg chg="add mod">
          <ac:chgData name="Sam Mesel" userId="1ee7badb-5d1f-4872-89ae-dcf7b71f276a" providerId="ADAL" clId="{EEA38070-6794-41D2-BF8A-0742E5EDBF80}" dt="2020-03-03T03:12:23.080" v="388" actId="1076"/>
          <ac:spMkLst>
            <pc:docMk/>
            <pc:sldMk cId="4174331227" sldId="1506"/>
            <ac:spMk id="53" creationId="{986DFED8-A7A5-4659-AA4E-65DBE020F66B}"/>
          </ac:spMkLst>
        </pc:spChg>
        <pc:spChg chg="add mod">
          <ac:chgData name="Sam Mesel" userId="1ee7badb-5d1f-4872-89ae-dcf7b71f276a" providerId="ADAL" clId="{EEA38070-6794-41D2-BF8A-0742E5EDBF80}" dt="2020-03-03T03:12:23.080" v="388" actId="1076"/>
          <ac:spMkLst>
            <pc:docMk/>
            <pc:sldMk cId="4174331227" sldId="1506"/>
            <ac:spMk id="54" creationId="{5B37512A-8246-403C-8609-1B297EA845F0}"/>
          </ac:spMkLst>
        </pc:spChg>
        <pc:spChg chg="add mod">
          <ac:chgData name="Sam Mesel" userId="1ee7badb-5d1f-4872-89ae-dcf7b71f276a" providerId="ADAL" clId="{EEA38070-6794-41D2-BF8A-0742E5EDBF80}" dt="2020-03-03T03:12:23.080" v="388" actId="1076"/>
          <ac:spMkLst>
            <pc:docMk/>
            <pc:sldMk cId="4174331227" sldId="1506"/>
            <ac:spMk id="55" creationId="{CDD6A2C8-A9DB-4076-A976-978D33F5F1AF}"/>
          </ac:spMkLst>
        </pc:spChg>
        <pc:spChg chg="add mod">
          <ac:chgData name="Sam Mesel" userId="1ee7badb-5d1f-4872-89ae-dcf7b71f276a" providerId="ADAL" clId="{EEA38070-6794-41D2-BF8A-0742E5EDBF80}" dt="2020-03-03T03:12:23.080" v="388" actId="1076"/>
          <ac:spMkLst>
            <pc:docMk/>
            <pc:sldMk cId="4174331227" sldId="1506"/>
            <ac:spMk id="56" creationId="{114053ED-8765-466E-84AE-A07DA021C65D}"/>
          </ac:spMkLst>
        </pc:spChg>
        <pc:spChg chg="add mod">
          <ac:chgData name="Sam Mesel" userId="1ee7badb-5d1f-4872-89ae-dcf7b71f276a" providerId="ADAL" clId="{EEA38070-6794-41D2-BF8A-0742E5EDBF80}" dt="2020-03-03T03:12:23.080" v="388" actId="1076"/>
          <ac:spMkLst>
            <pc:docMk/>
            <pc:sldMk cId="4174331227" sldId="1506"/>
            <ac:spMk id="57" creationId="{EAEDCB83-39E0-4A5D-AF6B-24E5C7CE9796}"/>
          </ac:spMkLst>
        </pc:spChg>
        <pc:spChg chg="add mod">
          <ac:chgData name="Sam Mesel" userId="1ee7badb-5d1f-4872-89ae-dcf7b71f276a" providerId="ADAL" clId="{EEA38070-6794-41D2-BF8A-0742E5EDBF80}" dt="2020-03-03T03:12:23.080" v="388" actId="1076"/>
          <ac:spMkLst>
            <pc:docMk/>
            <pc:sldMk cId="4174331227" sldId="1506"/>
            <ac:spMk id="58" creationId="{59F6E1F2-FFD9-46E3-8091-608AF1877D43}"/>
          </ac:spMkLst>
        </pc:spChg>
        <pc:spChg chg="add mod">
          <ac:chgData name="Sam Mesel" userId="1ee7badb-5d1f-4872-89ae-dcf7b71f276a" providerId="ADAL" clId="{EEA38070-6794-41D2-BF8A-0742E5EDBF80}" dt="2020-03-03T03:12:23.080" v="388" actId="1076"/>
          <ac:spMkLst>
            <pc:docMk/>
            <pc:sldMk cId="4174331227" sldId="1506"/>
            <ac:spMk id="59" creationId="{C9C991CD-B4F0-41E8-8798-B69F500180DE}"/>
          </ac:spMkLst>
        </pc:spChg>
        <pc:spChg chg="add mod">
          <ac:chgData name="Sam Mesel" userId="1ee7badb-5d1f-4872-89ae-dcf7b71f276a" providerId="ADAL" clId="{EEA38070-6794-41D2-BF8A-0742E5EDBF80}" dt="2020-03-03T03:12:23.080" v="388" actId="1076"/>
          <ac:spMkLst>
            <pc:docMk/>
            <pc:sldMk cId="4174331227" sldId="1506"/>
            <ac:spMk id="60" creationId="{426269A6-1A40-43C7-A172-B551A71A3B86}"/>
          </ac:spMkLst>
        </pc:spChg>
        <pc:spChg chg="add mod">
          <ac:chgData name="Sam Mesel" userId="1ee7badb-5d1f-4872-89ae-dcf7b71f276a" providerId="ADAL" clId="{EEA38070-6794-41D2-BF8A-0742E5EDBF80}" dt="2020-03-03T03:12:23.080" v="388" actId="1076"/>
          <ac:spMkLst>
            <pc:docMk/>
            <pc:sldMk cId="4174331227" sldId="1506"/>
            <ac:spMk id="61" creationId="{002CC1DF-7D1C-4A21-B69B-B3D678418D5F}"/>
          </ac:spMkLst>
        </pc:spChg>
        <pc:spChg chg="add mod">
          <ac:chgData name="Sam Mesel" userId="1ee7badb-5d1f-4872-89ae-dcf7b71f276a" providerId="ADAL" clId="{EEA38070-6794-41D2-BF8A-0742E5EDBF80}" dt="2020-03-03T03:12:23.080" v="388" actId="1076"/>
          <ac:spMkLst>
            <pc:docMk/>
            <pc:sldMk cId="4174331227" sldId="1506"/>
            <ac:spMk id="62" creationId="{5131CD87-51EF-490F-9DE6-8BF3015F8CD8}"/>
          </ac:spMkLst>
        </pc:spChg>
        <pc:spChg chg="add mod">
          <ac:chgData name="Sam Mesel" userId="1ee7badb-5d1f-4872-89ae-dcf7b71f276a" providerId="ADAL" clId="{EEA38070-6794-41D2-BF8A-0742E5EDBF80}" dt="2020-03-03T03:12:23.080" v="388" actId="1076"/>
          <ac:spMkLst>
            <pc:docMk/>
            <pc:sldMk cId="4174331227" sldId="1506"/>
            <ac:spMk id="63" creationId="{3AF3AED8-D2B4-45EF-B9E7-36FCCD2533C6}"/>
          </ac:spMkLst>
        </pc:spChg>
        <pc:grpChg chg="del">
          <ac:chgData name="Sam Mesel" userId="1ee7badb-5d1f-4872-89ae-dcf7b71f276a" providerId="ADAL" clId="{EEA38070-6794-41D2-BF8A-0742E5EDBF80}" dt="2020-03-03T03:11:34.352" v="333" actId="478"/>
          <ac:grpSpMkLst>
            <pc:docMk/>
            <pc:sldMk cId="4174331227" sldId="1506"/>
            <ac:grpSpMk id="5" creationId="{5C07C30A-BCC0-4C5E-BBB3-921A4D9926D1}"/>
          </ac:grpSpMkLst>
        </pc:grpChg>
        <pc:graphicFrameChg chg="mod">
          <ac:chgData name="Sam Mesel" userId="1ee7badb-5d1f-4872-89ae-dcf7b71f276a" providerId="ADAL" clId="{EEA38070-6794-41D2-BF8A-0742E5EDBF80}" dt="2020-03-03T02:49:32.266" v="2" actId="1076"/>
          <ac:graphicFrameMkLst>
            <pc:docMk/>
            <pc:sldMk cId="4174331227" sldId="1506"/>
            <ac:graphicFrameMk id="3" creationId="{D3196DDF-F669-4702-A8B2-436990216CE7}"/>
          </ac:graphicFrameMkLst>
        </pc:graphicFrameChg>
      </pc:sldChg>
      <pc:sldChg chg="mod modShow">
        <pc:chgData name="Sam Mesel" userId="1ee7badb-5d1f-4872-89ae-dcf7b71f276a" providerId="ADAL" clId="{EEA38070-6794-41D2-BF8A-0742E5EDBF80}" dt="2020-03-03T03:16:05.020" v="396" actId="729"/>
        <pc:sldMkLst>
          <pc:docMk/>
          <pc:sldMk cId="3223002142" sldId="1518"/>
        </pc:sldMkLst>
      </pc:sldChg>
      <pc:sldChg chg="modNotesTx">
        <pc:chgData name="Sam Mesel" userId="1ee7badb-5d1f-4872-89ae-dcf7b71f276a" providerId="ADAL" clId="{EEA38070-6794-41D2-BF8A-0742E5EDBF80}" dt="2020-03-18T19:10:07.186" v="941" actId="20577"/>
        <pc:sldMkLst>
          <pc:docMk/>
          <pc:sldMk cId="917702128" sldId="1519"/>
        </pc:sldMkLst>
      </pc:sldChg>
      <pc:sldChg chg="addSp delSp modSp mod modClrScheme modAnim chgLayout modNotesTx">
        <pc:chgData name="Sam Mesel" userId="1ee7badb-5d1f-4872-89ae-dcf7b71f276a" providerId="ADAL" clId="{EEA38070-6794-41D2-BF8A-0742E5EDBF80}" dt="2020-03-03T03:36:50.010" v="566"/>
        <pc:sldMkLst>
          <pc:docMk/>
          <pc:sldMk cId="677664238" sldId="1547"/>
        </pc:sldMkLst>
        <pc:spChg chg="mod ord">
          <ac:chgData name="Sam Mesel" userId="1ee7badb-5d1f-4872-89ae-dcf7b71f276a" providerId="ADAL" clId="{EEA38070-6794-41D2-BF8A-0742E5EDBF80}" dt="2020-03-03T03:30:50.146" v="553" actId="14100"/>
          <ac:spMkLst>
            <pc:docMk/>
            <pc:sldMk cId="677664238" sldId="1547"/>
            <ac:spMk id="2" creationId="{B402D06C-7FD7-4836-86C5-8DBCD68FF0FD}"/>
          </ac:spMkLst>
        </pc:spChg>
        <pc:spChg chg="mod ord">
          <ac:chgData name="Sam Mesel" userId="1ee7badb-5d1f-4872-89ae-dcf7b71f276a" providerId="ADAL" clId="{EEA38070-6794-41D2-BF8A-0742E5EDBF80}" dt="2020-03-03T03:30:27.675" v="552" actId="26606"/>
          <ac:spMkLst>
            <pc:docMk/>
            <pc:sldMk cId="677664238" sldId="1547"/>
            <ac:spMk id="3" creationId="{7B08FCC1-310E-48F5-9793-679BD3B76689}"/>
          </ac:spMkLst>
        </pc:spChg>
        <pc:graphicFrameChg chg="add del mod">
          <ac:chgData name="Sam Mesel" userId="1ee7badb-5d1f-4872-89ae-dcf7b71f276a" providerId="ADAL" clId="{EEA38070-6794-41D2-BF8A-0742E5EDBF80}" dt="2020-03-03T03:30:27.675" v="552" actId="26606"/>
          <ac:graphicFrameMkLst>
            <pc:docMk/>
            <pc:sldMk cId="677664238" sldId="1547"/>
            <ac:graphicFrameMk id="5" creationId="{AA2BB919-AE1D-4993-AA0B-F1E21DE5A163}"/>
          </ac:graphicFrameMkLst>
        </pc:graphicFrameChg>
        <pc:picChg chg="add mod">
          <ac:chgData name="Sam Mesel" userId="1ee7badb-5d1f-4872-89ae-dcf7b71f276a" providerId="ADAL" clId="{EEA38070-6794-41D2-BF8A-0742E5EDBF80}" dt="2020-03-03T03:35:39.003" v="557" actId="1076"/>
          <ac:picMkLst>
            <pc:docMk/>
            <pc:sldMk cId="677664238" sldId="1547"/>
            <ac:picMk id="4" creationId="{0C7B24B8-890D-48C3-A494-8634128A8ADD}"/>
          </ac:picMkLst>
        </pc:picChg>
        <pc:picChg chg="add mod">
          <ac:chgData name="Sam Mesel" userId="1ee7badb-5d1f-4872-89ae-dcf7b71f276a" providerId="ADAL" clId="{EEA38070-6794-41D2-BF8A-0742E5EDBF80}" dt="2020-03-03T03:36:13.477" v="561" actId="1076"/>
          <ac:picMkLst>
            <pc:docMk/>
            <pc:sldMk cId="677664238" sldId="1547"/>
            <ac:picMk id="6" creationId="{6C145AF4-A5AF-48B9-A360-F318ACF45FE0}"/>
          </ac:picMkLst>
        </pc:picChg>
        <pc:picChg chg="add mod">
          <ac:chgData name="Sam Mesel" userId="1ee7badb-5d1f-4872-89ae-dcf7b71f276a" providerId="ADAL" clId="{EEA38070-6794-41D2-BF8A-0742E5EDBF80}" dt="2020-03-03T03:36:41.767" v="564" actId="1076"/>
          <ac:picMkLst>
            <pc:docMk/>
            <pc:sldMk cId="677664238" sldId="1547"/>
            <ac:picMk id="7" creationId="{082F022E-0E44-4F49-9B30-C299D209958E}"/>
          </ac:picMkLst>
        </pc:picChg>
      </pc:sldChg>
      <pc:sldChg chg="addSp delSp modSp mod chgLayout">
        <pc:chgData name="Sam Mesel" userId="1ee7badb-5d1f-4872-89ae-dcf7b71f276a" providerId="ADAL" clId="{EEA38070-6794-41D2-BF8A-0742E5EDBF80}" dt="2020-03-18T19:08:43.302" v="937" actId="478"/>
        <pc:sldMkLst>
          <pc:docMk/>
          <pc:sldMk cId="3946343017" sldId="1548"/>
        </pc:sldMkLst>
        <pc:spChg chg="del">
          <ac:chgData name="Sam Mesel" userId="1ee7badb-5d1f-4872-89ae-dcf7b71f276a" providerId="ADAL" clId="{EEA38070-6794-41D2-BF8A-0742E5EDBF80}" dt="2020-03-03T03:18:05.819" v="429" actId="12084"/>
          <ac:spMkLst>
            <pc:docMk/>
            <pc:sldMk cId="3946343017" sldId="1548"/>
            <ac:spMk id="2" creationId="{0CA249E1-9B53-47F8-A5F7-D8AAD954C032}"/>
          </ac:spMkLst>
        </pc:spChg>
        <pc:spChg chg="add mod ord">
          <ac:chgData name="Sam Mesel" userId="1ee7badb-5d1f-4872-89ae-dcf7b71f276a" providerId="ADAL" clId="{EEA38070-6794-41D2-BF8A-0742E5EDBF80}" dt="2020-03-03T19:56:31.342" v="794" actId="700"/>
          <ac:spMkLst>
            <pc:docMk/>
            <pc:sldMk cId="3946343017" sldId="1548"/>
            <ac:spMk id="2" creationId="{1DA0A6DE-44BD-4401-B012-FD7CC226B3EA}"/>
          </ac:spMkLst>
        </pc:spChg>
        <pc:spChg chg="mod ord">
          <ac:chgData name="Sam Mesel" userId="1ee7badb-5d1f-4872-89ae-dcf7b71f276a" providerId="ADAL" clId="{EEA38070-6794-41D2-BF8A-0742E5EDBF80}" dt="2020-03-03T19:56:31.342" v="794" actId="700"/>
          <ac:spMkLst>
            <pc:docMk/>
            <pc:sldMk cId="3946343017" sldId="1548"/>
            <ac:spMk id="3" creationId="{17C7FF36-A247-4DE3-A123-A362C8FDC382}"/>
          </ac:spMkLst>
        </pc:spChg>
        <pc:spChg chg="add del mod ord">
          <ac:chgData name="Sam Mesel" userId="1ee7badb-5d1f-4872-89ae-dcf7b71f276a" providerId="ADAL" clId="{EEA38070-6794-41D2-BF8A-0742E5EDBF80}" dt="2020-03-18T19:08:43.302" v="937" actId="478"/>
          <ac:spMkLst>
            <pc:docMk/>
            <pc:sldMk cId="3946343017" sldId="1548"/>
            <ac:spMk id="5" creationId="{CD2F7C52-3EBF-47DB-B89A-B4F9F6C9D124}"/>
          </ac:spMkLst>
        </pc:spChg>
        <pc:graphicFrameChg chg="add mod">
          <ac:chgData name="Sam Mesel" userId="1ee7badb-5d1f-4872-89ae-dcf7b71f276a" providerId="ADAL" clId="{EEA38070-6794-41D2-BF8A-0742E5EDBF80}" dt="2020-03-03T03:22:33.372" v="479" actId="13782"/>
          <ac:graphicFrameMkLst>
            <pc:docMk/>
            <pc:sldMk cId="3946343017" sldId="1548"/>
            <ac:graphicFrameMk id="4" creationId="{BD44B0EB-130B-439F-8D66-62176288D456}"/>
          </ac:graphicFrameMkLst>
        </pc:graphicFrameChg>
      </pc:sldChg>
      <pc:sldChg chg="addSp delSp modSp mod chgLayout">
        <pc:chgData name="Sam Mesel" userId="1ee7badb-5d1f-4872-89ae-dcf7b71f276a" providerId="ADAL" clId="{EEA38070-6794-41D2-BF8A-0742E5EDBF80}" dt="2020-03-18T19:08:32.783" v="934" actId="478"/>
        <pc:sldMkLst>
          <pc:docMk/>
          <pc:sldMk cId="2746168451" sldId="1549"/>
        </pc:sldMkLst>
        <pc:spChg chg="add mod ord">
          <ac:chgData name="Sam Mesel" userId="1ee7badb-5d1f-4872-89ae-dcf7b71f276a" providerId="ADAL" clId="{EEA38070-6794-41D2-BF8A-0742E5EDBF80}" dt="2020-03-03T19:56:52.707" v="797" actId="700"/>
          <ac:spMkLst>
            <pc:docMk/>
            <pc:sldMk cId="2746168451" sldId="1549"/>
            <ac:spMk id="2" creationId="{11EE024B-8932-444A-9444-004DC8E142B0}"/>
          </ac:spMkLst>
        </pc:spChg>
        <pc:spChg chg="mod ord">
          <ac:chgData name="Sam Mesel" userId="1ee7badb-5d1f-4872-89ae-dcf7b71f276a" providerId="ADAL" clId="{EEA38070-6794-41D2-BF8A-0742E5EDBF80}" dt="2020-03-03T19:56:52.707" v="797" actId="700"/>
          <ac:spMkLst>
            <pc:docMk/>
            <pc:sldMk cId="2746168451" sldId="1549"/>
            <ac:spMk id="3" creationId="{C8555DDD-1A74-4CD4-BED4-84E3CF5F20AB}"/>
          </ac:spMkLst>
        </pc:spChg>
        <pc:spChg chg="add del mod ord">
          <ac:chgData name="Sam Mesel" userId="1ee7badb-5d1f-4872-89ae-dcf7b71f276a" providerId="ADAL" clId="{EEA38070-6794-41D2-BF8A-0742E5EDBF80}" dt="2020-03-18T19:08:32.783" v="934" actId="478"/>
          <ac:spMkLst>
            <pc:docMk/>
            <pc:sldMk cId="2746168451" sldId="1549"/>
            <ac:spMk id="4" creationId="{8F11F3DA-DDD7-4204-9E13-9C14DC027FE8}"/>
          </ac:spMkLst>
        </pc:spChg>
        <pc:graphicFrameChg chg="mod">
          <ac:chgData name="Sam Mesel" userId="1ee7badb-5d1f-4872-89ae-dcf7b71f276a" providerId="ADAL" clId="{EEA38070-6794-41D2-BF8A-0742E5EDBF80}" dt="2020-03-18T19:08:27.813" v="932" actId="1076"/>
          <ac:graphicFrameMkLst>
            <pc:docMk/>
            <pc:sldMk cId="2746168451" sldId="1549"/>
            <ac:graphicFrameMk id="5" creationId="{0E50C9B5-4217-4674-92C8-0F785D28BAF0}"/>
          </ac:graphicFrameMkLst>
        </pc:graphicFrameChg>
      </pc:sldChg>
      <pc:sldChg chg="addSp delSp modSp mod chgLayout">
        <pc:chgData name="Sam Mesel" userId="1ee7badb-5d1f-4872-89ae-dcf7b71f276a" providerId="ADAL" clId="{EEA38070-6794-41D2-BF8A-0742E5EDBF80}" dt="2020-03-18T19:08:15.897" v="931" actId="478"/>
        <pc:sldMkLst>
          <pc:docMk/>
          <pc:sldMk cId="993133461" sldId="1550"/>
        </pc:sldMkLst>
        <pc:spChg chg="add del mod ord">
          <ac:chgData name="Sam Mesel" userId="1ee7badb-5d1f-4872-89ae-dcf7b71f276a" providerId="ADAL" clId="{EEA38070-6794-41D2-BF8A-0742E5EDBF80}" dt="2020-03-03T19:57:08.470" v="799" actId="700"/>
          <ac:spMkLst>
            <pc:docMk/>
            <pc:sldMk cId="993133461" sldId="1550"/>
            <ac:spMk id="2" creationId="{4EDDDAB4-13E2-4C40-A966-7E8DDEC3F4DA}"/>
          </ac:spMkLst>
        </pc:spChg>
        <pc:spChg chg="mod ord">
          <ac:chgData name="Sam Mesel" userId="1ee7badb-5d1f-4872-89ae-dcf7b71f276a" providerId="ADAL" clId="{EEA38070-6794-41D2-BF8A-0742E5EDBF80}" dt="2020-03-03T19:57:08.470" v="799" actId="700"/>
          <ac:spMkLst>
            <pc:docMk/>
            <pc:sldMk cId="993133461" sldId="1550"/>
            <ac:spMk id="3" creationId="{17C7FF36-A247-4DE3-A123-A362C8FDC382}"/>
          </ac:spMkLst>
        </pc:spChg>
        <pc:spChg chg="add del mod ord">
          <ac:chgData name="Sam Mesel" userId="1ee7badb-5d1f-4872-89ae-dcf7b71f276a" providerId="ADAL" clId="{EEA38070-6794-41D2-BF8A-0742E5EDBF80}" dt="2020-03-03T19:57:08.470" v="799" actId="700"/>
          <ac:spMkLst>
            <pc:docMk/>
            <pc:sldMk cId="993133461" sldId="1550"/>
            <ac:spMk id="4" creationId="{66F8FB75-F1BC-4F3B-AACD-E5AF148220D5}"/>
          </ac:spMkLst>
        </pc:spChg>
        <pc:spChg chg="add mod ord">
          <ac:chgData name="Sam Mesel" userId="1ee7badb-5d1f-4872-89ae-dcf7b71f276a" providerId="ADAL" clId="{EEA38070-6794-41D2-BF8A-0742E5EDBF80}" dt="2020-03-03T19:57:08.470" v="799" actId="700"/>
          <ac:spMkLst>
            <pc:docMk/>
            <pc:sldMk cId="993133461" sldId="1550"/>
            <ac:spMk id="5" creationId="{673BCBF9-03DC-4D58-A449-55AE8351AE2F}"/>
          </ac:spMkLst>
        </pc:spChg>
        <pc:spChg chg="add del mod ord">
          <ac:chgData name="Sam Mesel" userId="1ee7badb-5d1f-4872-89ae-dcf7b71f276a" providerId="ADAL" clId="{EEA38070-6794-41D2-BF8A-0742E5EDBF80}" dt="2020-03-18T19:08:15.897" v="931" actId="478"/>
          <ac:spMkLst>
            <pc:docMk/>
            <pc:sldMk cId="993133461" sldId="1550"/>
            <ac:spMk id="6" creationId="{1526530B-4207-40D6-8E08-64BE066C82B9}"/>
          </ac:spMkLst>
        </pc:spChg>
      </pc:sldChg>
      <pc:sldChg chg="addSp delSp modSp add del mod chgLayout">
        <pc:chgData name="Sam Mesel" userId="1ee7badb-5d1f-4872-89ae-dcf7b71f276a" providerId="ADAL" clId="{EEA38070-6794-41D2-BF8A-0742E5EDBF80}" dt="2020-03-03T20:01:54.299" v="868" actId="47"/>
        <pc:sldMkLst>
          <pc:docMk/>
          <pc:sldMk cId="1406848215" sldId="1551"/>
        </pc:sldMkLst>
        <pc:spChg chg="mod ord">
          <ac:chgData name="Sam Mesel" userId="1ee7badb-5d1f-4872-89ae-dcf7b71f276a" providerId="ADAL" clId="{EEA38070-6794-41D2-BF8A-0742E5EDBF80}" dt="2020-03-03T20:01:12.914" v="851" actId="21"/>
          <ac:spMkLst>
            <pc:docMk/>
            <pc:sldMk cId="1406848215" sldId="1551"/>
            <ac:spMk id="2" creationId="{0CA249E1-9B53-47F8-A5F7-D8AAD954C032}"/>
          </ac:spMkLst>
        </pc:spChg>
        <pc:spChg chg="mod ord">
          <ac:chgData name="Sam Mesel" userId="1ee7badb-5d1f-4872-89ae-dcf7b71f276a" providerId="ADAL" clId="{EEA38070-6794-41D2-BF8A-0742E5EDBF80}" dt="2020-03-03T20:01:17.284" v="857"/>
          <ac:spMkLst>
            <pc:docMk/>
            <pc:sldMk cId="1406848215" sldId="1551"/>
            <ac:spMk id="3" creationId="{17C7FF36-A247-4DE3-A123-A362C8FDC382}"/>
          </ac:spMkLst>
        </pc:spChg>
        <pc:spChg chg="add del mod ord">
          <ac:chgData name="Sam Mesel" userId="1ee7badb-5d1f-4872-89ae-dcf7b71f276a" providerId="ADAL" clId="{EEA38070-6794-41D2-BF8A-0742E5EDBF80}" dt="2020-03-03T19:57:37.297" v="805" actId="700"/>
          <ac:spMkLst>
            <pc:docMk/>
            <pc:sldMk cId="1406848215" sldId="1551"/>
            <ac:spMk id="4" creationId="{B8B9E77E-5299-49B6-99F8-93873CBE9CCC}"/>
          </ac:spMkLst>
        </pc:spChg>
      </pc:sldChg>
      <pc:sldChg chg="addSp delSp modSp add del mod chgLayout">
        <pc:chgData name="Sam Mesel" userId="1ee7badb-5d1f-4872-89ae-dcf7b71f276a" providerId="ADAL" clId="{EEA38070-6794-41D2-BF8A-0742E5EDBF80}" dt="2020-03-03T20:00:38.624" v="849" actId="47"/>
        <pc:sldMkLst>
          <pc:docMk/>
          <pc:sldMk cId="2536988834" sldId="1553"/>
        </pc:sldMkLst>
        <pc:spChg chg="mod ord">
          <ac:chgData name="Sam Mesel" userId="1ee7badb-5d1f-4872-89ae-dcf7b71f276a" providerId="ADAL" clId="{EEA38070-6794-41D2-BF8A-0742E5EDBF80}" dt="2020-03-03T19:57:40.057" v="806" actId="700"/>
          <ac:spMkLst>
            <pc:docMk/>
            <pc:sldMk cId="2536988834" sldId="1553"/>
            <ac:spMk id="2" creationId="{0CA249E1-9B53-47F8-A5F7-D8AAD954C032}"/>
          </ac:spMkLst>
        </pc:spChg>
        <pc:spChg chg="mod ord">
          <ac:chgData name="Sam Mesel" userId="1ee7badb-5d1f-4872-89ae-dcf7b71f276a" providerId="ADAL" clId="{EEA38070-6794-41D2-BF8A-0742E5EDBF80}" dt="2020-03-03T19:57:40.057" v="806" actId="700"/>
          <ac:spMkLst>
            <pc:docMk/>
            <pc:sldMk cId="2536988834" sldId="1553"/>
            <ac:spMk id="3" creationId="{17C7FF36-A247-4DE3-A123-A362C8FDC382}"/>
          </ac:spMkLst>
        </pc:spChg>
        <pc:spChg chg="add del mod ord">
          <ac:chgData name="Sam Mesel" userId="1ee7badb-5d1f-4872-89ae-dcf7b71f276a" providerId="ADAL" clId="{EEA38070-6794-41D2-BF8A-0742E5EDBF80}" dt="2020-03-03T19:57:40.057" v="806" actId="700"/>
          <ac:spMkLst>
            <pc:docMk/>
            <pc:sldMk cId="2536988834" sldId="1553"/>
            <ac:spMk id="4" creationId="{E8949E4C-0591-4C04-A466-B757178B4F6D}"/>
          </ac:spMkLst>
        </pc:spChg>
      </pc:sldChg>
      <pc:sldChg chg="addSp delSp modSp mod chgLayout modNotesTx">
        <pc:chgData name="Sam Mesel" userId="1ee7badb-5d1f-4872-89ae-dcf7b71f276a" providerId="ADAL" clId="{EEA38070-6794-41D2-BF8A-0742E5EDBF80}" dt="2020-03-18T19:08:53.451" v="940" actId="478"/>
        <pc:sldMkLst>
          <pc:docMk/>
          <pc:sldMk cId="151394656" sldId="1554"/>
        </pc:sldMkLst>
        <pc:spChg chg="add mod ord">
          <ac:chgData name="Sam Mesel" userId="1ee7badb-5d1f-4872-89ae-dcf7b71f276a" providerId="ADAL" clId="{EEA38070-6794-41D2-BF8A-0742E5EDBF80}" dt="2020-03-03T19:57:15.790" v="800" actId="700"/>
          <ac:spMkLst>
            <pc:docMk/>
            <pc:sldMk cId="151394656" sldId="1554"/>
            <ac:spMk id="2" creationId="{80C19CE0-2EC4-48A1-96BF-14A583282699}"/>
          </ac:spMkLst>
        </pc:spChg>
        <pc:spChg chg="mod ord">
          <ac:chgData name="Sam Mesel" userId="1ee7badb-5d1f-4872-89ae-dcf7b71f276a" providerId="ADAL" clId="{EEA38070-6794-41D2-BF8A-0742E5EDBF80}" dt="2020-03-03T19:57:15.790" v="800" actId="700"/>
          <ac:spMkLst>
            <pc:docMk/>
            <pc:sldMk cId="151394656" sldId="1554"/>
            <ac:spMk id="3" creationId="{17C7FF36-A247-4DE3-A123-A362C8FDC382}"/>
          </ac:spMkLst>
        </pc:spChg>
        <pc:spChg chg="add del mod ord">
          <ac:chgData name="Sam Mesel" userId="1ee7badb-5d1f-4872-89ae-dcf7b71f276a" providerId="ADAL" clId="{EEA38070-6794-41D2-BF8A-0742E5EDBF80}" dt="2020-03-18T19:08:53.451" v="940" actId="478"/>
          <ac:spMkLst>
            <pc:docMk/>
            <pc:sldMk cId="151394656" sldId="1554"/>
            <ac:spMk id="4" creationId="{4AB241D2-07D5-4D08-A5EA-8D45C6E17892}"/>
          </ac:spMkLst>
        </pc:spChg>
        <pc:graphicFrameChg chg="mod">
          <ac:chgData name="Sam Mesel" userId="1ee7badb-5d1f-4872-89ae-dcf7b71f276a" providerId="ADAL" clId="{EEA38070-6794-41D2-BF8A-0742E5EDBF80}" dt="2020-03-03T03:23:52.057" v="487" actId="20577"/>
          <ac:graphicFrameMkLst>
            <pc:docMk/>
            <pc:sldMk cId="151394656" sldId="1554"/>
            <ac:graphicFrameMk id="5" creationId="{3958073A-4FC5-40EC-9503-F4CADB69BBCC}"/>
          </ac:graphicFrameMkLst>
        </pc:graphicFrameChg>
      </pc:sldChg>
      <pc:sldChg chg="modSp mod">
        <pc:chgData name="Sam Mesel" userId="1ee7badb-5d1f-4872-89ae-dcf7b71f276a" providerId="ADAL" clId="{EEA38070-6794-41D2-BF8A-0742E5EDBF80}" dt="2020-03-03T03:27:44.168" v="534" actId="20577"/>
        <pc:sldMkLst>
          <pc:docMk/>
          <pc:sldMk cId="4047077769" sldId="1555"/>
        </pc:sldMkLst>
        <pc:spChg chg="mod">
          <ac:chgData name="Sam Mesel" userId="1ee7badb-5d1f-4872-89ae-dcf7b71f276a" providerId="ADAL" clId="{EEA38070-6794-41D2-BF8A-0742E5EDBF80}" dt="2020-03-03T03:25:51.182" v="506" actId="14100"/>
          <ac:spMkLst>
            <pc:docMk/>
            <pc:sldMk cId="4047077769" sldId="1555"/>
            <ac:spMk id="4" creationId="{AAB03F7F-343B-4E95-BF38-DBAA343A0426}"/>
          </ac:spMkLst>
        </pc:spChg>
        <pc:spChg chg="mod">
          <ac:chgData name="Sam Mesel" userId="1ee7badb-5d1f-4872-89ae-dcf7b71f276a" providerId="ADAL" clId="{EEA38070-6794-41D2-BF8A-0742E5EDBF80}" dt="2020-03-03T03:27:44.168" v="534" actId="20577"/>
          <ac:spMkLst>
            <pc:docMk/>
            <pc:sldMk cId="4047077769" sldId="1555"/>
            <ac:spMk id="6" creationId="{51320AEC-09AC-4450-9988-747E8272E170}"/>
          </ac:spMkLst>
        </pc:spChg>
      </pc:sldChg>
      <pc:sldChg chg="addSp delSp modSp add del mod">
        <pc:chgData name="Sam Mesel" userId="1ee7badb-5d1f-4872-89ae-dcf7b71f276a" providerId="ADAL" clId="{EEA38070-6794-41D2-BF8A-0742E5EDBF80}" dt="2020-03-03T03:05:52.629" v="240" actId="2696"/>
        <pc:sldMkLst>
          <pc:docMk/>
          <pc:sldMk cId="671240019" sldId="1556"/>
        </pc:sldMkLst>
        <pc:spChg chg="add mod">
          <ac:chgData name="Sam Mesel" userId="1ee7badb-5d1f-4872-89ae-dcf7b71f276a" providerId="ADAL" clId="{EEA38070-6794-41D2-BF8A-0742E5EDBF80}" dt="2020-03-03T03:03:33.700" v="202" actId="20577"/>
          <ac:spMkLst>
            <pc:docMk/>
            <pc:sldMk cId="671240019" sldId="1556"/>
            <ac:spMk id="2" creationId="{8B2546B8-A976-4989-812D-FDD9A0DEA5F0}"/>
          </ac:spMkLst>
        </pc:spChg>
        <pc:spChg chg="mod">
          <ac:chgData name="Sam Mesel" userId="1ee7badb-5d1f-4872-89ae-dcf7b71f276a" providerId="ADAL" clId="{EEA38070-6794-41D2-BF8A-0742E5EDBF80}" dt="2020-03-03T03:03:47.370" v="203" actId="1076"/>
          <ac:spMkLst>
            <pc:docMk/>
            <pc:sldMk cId="671240019" sldId="1556"/>
            <ac:spMk id="10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0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0"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4"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8"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2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22"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2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2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26"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2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2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0"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4"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8"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4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42"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4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4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46"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4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4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0"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4"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8"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6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62"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6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6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66"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6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6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0"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4"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8"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2"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6"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8"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90"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20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210"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21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212" creationId="{00000000-0000-0000-0000-000000000000}"/>
          </ac:spMkLst>
        </pc:spChg>
        <pc:grpChg chg="del">
          <ac:chgData name="Sam Mesel" userId="1ee7badb-5d1f-4872-89ae-dcf7b71f276a" providerId="ADAL" clId="{EEA38070-6794-41D2-BF8A-0742E5EDBF80}" dt="2020-03-03T03:03:23.767" v="195" actId="478"/>
          <ac:grpSpMkLst>
            <pc:docMk/>
            <pc:sldMk cId="671240019" sldId="1556"/>
            <ac:grpSpMk id="191" creationId="{00000000-0000-0000-0000-000000000000}"/>
          </ac:grpSpMkLst>
        </pc:grpChg>
        <pc:cxnChg chg="mod">
          <ac:chgData name="Sam Mesel" userId="1ee7badb-5d1f-4872-89ae-dcf7b71f276a" providerId="ADAL" clId="{EEA38070-6794-41D2-BF8A-0742E5EDBF80}" dt="2020-03-03T03:03:47.370" v="203" actId="1076"/>
          <ac:cxnSpMkLst>
            <pc:docMk/>
            <pc:sldMk cId="671240019" sldId="1556"/>
            <ac:cxnSpMk id="108"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12"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16"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20"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24"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28"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32"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36"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40"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44"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48"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52"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56"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60"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64"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68"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72"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76"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80"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84" creationId="{00000000-0000-0000-0000-000000000000}"/>
          </ac:cxnSpMkLst>
        </pc:cxnChg>
        <pc:cxnChg chg="del">
          <ac:chgData name="Sam Mesel" userId="1ee7badb-5d1f-4872-89ae-dcf7b71f276a" providerId="ADAL" clId="{EEA38070-6794-41D2-BF8A-0742E5EDBF80}" dt="2020-03-03T03:03:23.767" v="195" actId="478"/>
          <ac:cxnSpMkLst>
            <pc:docMk/>
            <pc:sldMk cId="671240019" sldId="1556"/>
            <ac:cxnSpMk id="207" creationId="{00000000-0000-0000-0000-000000000000}"/>
          </ac:cxnSpMkLst>
        </pc:cxnChg>
        <pc:cxnChg chg="del">
          <ac:chgData name="Sam Mesel" userId="1ee7badb-5d1f-4872-89ae-dcf7b71f276a" providerId="ADAL" clId="{EEA38070-6794-41D2-BF8A-0742E5EDBF80}" dt="2020-03-03T03:03:26.914" v="196" actId="478"/>
          <ac:cxnSpMkLst>
            <pc:docMk/>
            <pc:sldMk cId="671240019" sldId="1556"/>
            <ac:cxnSpMk id="208" creationId="{00000000-0000-0000-0000-000000000000}"/>
          </ac:cxnSpMkLst>
        </pc:cxnChg>
      </pc:sldChg>
      <pc:sldChg chg="add del">
        <pc:chgData name="Sam Mesel" userId="1ee7badb-5d1f-4872-89ae-dcf7b71f276a" providerId="ADAL" clId="{EEA38070-6794-41D2-BF8A-0742E5EDBF80}" dt="2020-03-03T19:56:47.478" v="796" actId="47"/>
        <pc:sldMkLst>
          <pc:docMk/>
          <pc:sldMk cId="1478612838" sldId="1557"/>
        </pc:sldMkLst>
      </pc:sldChg>
      <pc:sldChg chg="addSp delSp modSp new mod modShow modNotesTx">
        <pc:chgData name="Sam Mesel" userId="1ee7badb-5d1f-4872-89ae-dcf7b71f276a" providerId="ADAL" clId="{EEA38070-6794-41D2-BF8A-0742E5EDBF80}" dt="2020-03-18T23:25:28.206" v="943" actId="729"/>
        <pc:sldMkLst>
          <pc:docMk/>
          <pc:sldMk cId="4223191434" sldId="1557"/>
        </pc:sldMkLst>
        <pc:spChg chg="del">
          <ac:chgData name="Sam Mesel" userId="1ee7badb-5d1f-4872-89ae-dcf7b71f276a" providerId="ADAL" clId="{EEA38070-6794-41D2-BF8A-0742E5EDBF80}" dt="2020-03-03T19:58:14.946" v="808"/>
          <ac:spMkLst>
            <pc:docMk/>
            <pc:sldMk cId="4223191434" sldId="1557"/>
            <ac:spMk id="3" creationId="{103AD86F-C646-44B4-8684-815EE9F71E99}"/>
          </ac:spMkLst>
        </pc:spChg>
        <pc:spChg chg="add mod">
          <ac:chgData name="Sam Mesel" userId="1ee7badb-5d1f-4872-89ae-dcf7b71f276a" providerId="ADAL" clId="{EEA38070-6794-41D2-BF8A-0742E5EDBF80}" dt="2020-03-03T19:59:02.765" v="817" actId="1076"/>
          <ac:spMkLst>
            <pc:docMk/>
            <pc:sldMk cId="4223191434" sldId="1557"/>
            <ac:spMk id="5" creationId="{C292E2B6-FE9C-4941-88C4-B763BD61A643}"/>
          </ac:spMkLst>
        </pc:spChg>
        <pc:spChg chg="add del mod">
          <ac:chgData name="Sam Mesel" userId="1ee7badb-5d1f-4872-89ae-dcf7b71f276a" providerId="ADAL" clId="{EEA38070-6794-41D2-BF8A-0742E5EDBF80}" dt="2020-03-03T20:00:22.769" v="847"/>
          <ac:spMkLst>
            <pc:docMk/>
            <pc:sldMk cId="4223191434" sldId="1557"/>
            <ac:spMk id="6" creationId="{72C4995E-BFBB-4D47-A316-29603F3B9502}"/>
          </ac:spMkLst>
        </pc:spChg>
        <pc:spChg chg="add mod">
          <ac:chgData name="Sam Mesel" userId="1ee7badb-5d1f-4872-89ae-dcf7b71f276a" providerId="ADAL" clId="{EEA38070-6794-41D2-BF8A-0742E5EDBF80}" dt="2020-03-03T20:01:52.270" v="867" actId="14100"/>
          <ac:spMkLst>
            <pc:docMk/>
            <pc:sldMk cId="4223191434" sldId="1557"/>
            <ac:spMk id="7" creationId="{C9815705-4465-4A3D-A6CE-170ECC000CD1}"/>
          </ac:spMkLst>
        </pc:spChg>
      </pc:sldChg>
    </pc:docChg>
  </pc:docChgLst>
  <pc:docChgLst>
    <pc:chgData name="Batuhan Yildiz" userId="90f344fc-4655-4923-aeaf-697bba59c1a7" providerId="ADAL" clId="{604018CD-5CCB-49CE-8B7C-07A1147B112A}"/>
    <pc:docChg chg="addSld modSld">
      <pc:chgData name="Batuhan Yildiz" userId="90f344fc-4655-4923-aeaf-697bba59c1a7" providerId="ADAL" clId="{604018CD-5CCB-49CE-8B7C-07A1147B112A}" dt="2020-02-06T02:35:11.821" v="30"/>
      <pc:docMkLst>
        <pc:docMk/>
      </pc:docMkLst>
      <pc:sldChg chg="modSp mod">
        <pc:chgData name="Batuhan Yildiz" userId="90f344fc-4655-4923-aeaf-697bba59c1a7" providerId="ADAL" clId="{604018CD-5CCB-49CE-8B7C-07A1147B112A}" dt="2020-02-05T02:50:47.635" v="15" actId="20577"/>
        <pc:sldMkLst>
          <pc:docMk/>
          <pc:sldMk cId="1196121053" sldId="260"/>
        </pc:sldMkLst>
        <pc:spChg chg="mod">
          <ac:chgData name="Batuhan Yildiz" userId="90f344fc-4655-4923-aeaf-697bba59c1a7" providerId="ADAL" clId="{604018CD-5CCB-49CE-8B7C-07A1147B112A}" dt="2020-02-05T02:50:47.635" v="15" actId="20577"/>
          <ac:spMkLst>
            <pc:docMk/>
            <pc:sldMk cId="1196121053" sldId="260"/>
            <ac:spMk id="4" creationId="{5D85DF47-300F-4085-B774-DDE734B96F99}"/>
          </ac:spMkLst>
        </pc:spChg>
        <pc:spChg chg="mod">
          <ac:chgData name="Batuhan Yildiz" userId="90f344fc-4655-4923-aeaf-697bba59c1a7" providerId="ADAL" clId="{604018CD-5CCB-49CE-8B7C-07A1147B112A}" dt="2020-02-05T02:48:32.474" v="1" actId="20577"/>
          <ac:spMkLst>
            <pc:docMk/>
            <pc:sldMk cId="1196121053" sldId="260"/>
            <ac:spMk id="5" creationId="{806AE5AE-CAF0-4BF4-872E-C97AF8874A6F}"/>
          </ac:spMkLst>
        </pc:spChg>
      </pc:sldChg>
      <pc:sldChg chg="modSp">
        <pc:chgData name="Batuhan Yildiz" userId="90f344fc-4655-4923-aeaf-697bba59c1a7" providerId="ADAL" clId="{604018CD-5CCB-49CE-8B7C-07A1147B112A}" dt="2020-02-05T02:52:53.388" v="16"/>
        <pc:sldMkLst>
          <pc:docMk/>
          <pc:sldMk cId="4083746080" sldId="561"/>
        </pc:sldMkLst>
        <pc:spChg chg="mod">
          <ac:chgData name="Batuhan Yildiz" userId="90f344fc-4655-4923-aeaf-697bba59c1a7" providerId="ADAL" clId="{604018CD-5CCB-49CE-8B7C-07A1147B112A}" dt="2020-02-05T02:52:53.388" v="16"/>
          <ac:spMkLst>
            <pc:docMk/>
            <pc:sldMk cId="4083746080" sldId="561"/>
            <ac:spMk id="2" creationId="{74CD77A6-E28D-4D8D-9FE5-64ADAA827AC9}"/>
          </ac:spMkLst>
        </pc:spChg>
      </pc:sldChg>
      <pc:sldChg chg="modSp mod">
        <pc:chgData name="Batuhan Yildiz" userId="90f344fc-4655-4923-aeaf-697bba59c1a7" providerId="ADAL" clId="{604018CD-5CCB-49CE-8B7C-07A1147B112A}" dt="2020-02-05T03:03:08.198" v="23" actId="20577"/>
        <pc:sldMkLst>
          <pc:docMk/>
          <pc:sldMk cId="1615560134" sldId="562"/>
        </pc:sldMkLst>
        <pc:spChg chg="mod">
          <ac:chgData name="Batuhan Yildiz" userId="90f344fc-4655-4923-aeaf-697bba59c1a7" providerId="ADAL" clId="{604018CD-5CCB-49CE-8B7C-07A1147B112A}" dt="2020-02-05T03:03:08.198" v="23" actId="20577"/>
          <ac:spMkLst>
            <pc:docMk/>
            <pc:sldMk cId="1615560134" sldId="562"/>
            <ac:spMk id="3" creationId="{859B2BAE-A383-4E74-B3CF-9AC64DA11727}"/>
          </ac:spMkLst>
        </pc:spChg>
      </pc:sldChg>
      <pc:sldChg chg="modSp">
        <pc:chgData name="Batuhan Yildiz" userId="90f344fc-4655-4923-aeaf-697bba59c1a7" providerId="ADAL" clId="{604018CD-5CCB-49CE-8B7C-07A1147B112A}" dt="2020-02-05T02:53:11.261" v="17"/>
        <pc:sldMkLst>
          <pc:docMk/>
          <pc:sldMk cId="289400407" sldId="564"/>
        </pc:sldMkLst>
        <pc:spChg chg="mod">
          <ac:chgData name="Batuhan Yildiz" userId="90f344fc-4655-4923-aeaf-697bba59c1a7" providerId="ADAL" clId="{604018CD-5CCB-49CE-8B7C-07A1147B112A}" dt="2020-02-05T02:53:11.261" v="17"/>
          <ac:spMkLst>
            <pc:docMk/>
            <pc:sldMk cId="289400407" sldId="564"/>
            <ac:spMk id="2" creationId="{74CD77A6-E28D-4D8D-9FE5-64ADAA827AC9}"/>
          </ac:spMkLst>
        </pc:spChg>
      </pc:sldChg>
      <pc:sldChg chg="modSp mod">
        <pc:chgData name="Batuhan Yildiz" userId="90f344fc-4655-4923-aeaf-697bba59c1a7" providerId="ADAL" clId="{604018CD-5CCB-49CE-8B7C-07A1147B112A}" dt="2020-02-05T03:03:23.616" v="27" actId="14100"/>
        <pc:sldMkLst>
          <pc:docMk/>
          <pc:sldMk cId="57495843" sldId="571"/>
        </pc:sldMkLst>
        <pc:spChg chg="mod">
          <ac:chgData name="Batuhan Yildiz" userId="90f344fc-4655-4923-aeaf-697bba59c1a7" providerId="ADAL" clId="{604018CD-5CCB-49CE-8B7C-07A1147B112A}" dt="2020-02-05T03:03:23.616" v="27" actId="14100"/>
          <ac:spMkLst>
            <pc:docMk/>
            <pc:sldMk cId="57495843" sldId="571"/>
            <ac:spMk id="2" creationId="{74CD77A6-E28D-4D8D-9FE5-64ADAA827AC9}"/>
          </ac:spMkLst>
        </pc:spChg>
      </pc:sldChg>
      <pc:sldChg chg="add">
        <pc:chgData name="Batuhan Yildiz" userId="90f344fc-4655-4923-aeaf-697bba59c1a7" providerId="ADAL" clId="{604018CD-5CCB-49CE-8B7C-07A1147B112A}" dt="2020-02-06T02:34:55.280" v="28"/>
        <pc:sldMkLst>
          <pc:docMk/>
          <pc:sldMk cId="3372985199" sldId="578"/>
        </pc:sldMkLst>
      </pc:sldChg>
      <pc:sldChg chg="add">
        <pc:chgData name="Batuhan Yildiz" userId="90f344fc-4655-4923-aeaf-697bba59c1a7" providerId="ADAL" clId="{604018CD-5CCB-49CE-8B7C-07A1147B112A}" dt="2020-02-06T02:35:03.758" v="29"/>
        <pc:sldMkLst>
          <pc:docMk/>
          <pc:sldMk cId="3775966848" sldId="579"/>
        </pc:sldMkLst>
      </pc:sldChg>
      <pc:sldChg chg="add">
        <pc:chgData name="Batuhan Yildiz" userId="90f344fc-4655-4923-aeaf-697bba59c1a7" providerId="ADAL" clId="{604018CD-5CCB-49CE-8B7C-07A1147B112A}" dt="2020-02-06T02:35:11.821" v="30"/>
        <pc:sldMkLst>
          <pc:docMk/>
          <pc:sldMk cId="2431423782" sldId="580"/>
        </pc:sldMkLst>
      </pc:sldChg>
    </pc:docChg>
  </pc:docChgLst>
  <pc:docChgLst>
    <pc:chgData name="Batuhan Yildiz" userId="90f344fc-4655-4923-aeaf-697bba59c1a7" providerId="ADAL" clId="{73D0611D-A011-47A1-B2AD-14FD4A842E01}"/>
    <pc:docChg chg="undo custSel delSld modSld delSection modSection">
      <pc:chgData name="Batuhan Yildiz" userId="90f344fc-4655-4923-aeaf-697bba59c1a7" providerId="ADAL" clId="{73D0611D-A011-47A1-B2AD-14FD4A842E01}" dt="2020-01-30T08:11:45.946" v="225" actId="17851"/>
      <pc:docMkLst>
        <pc:docMk/>
      </pc:docMkLst>
      <pc:sldChg chg="modSp mod">
        <pc:chgData name="Batuhan Yildiz" userId="90f344fc-4655-4923-aeaf-697bba59c1a7" providerId="ADAL" clId="{73D0611D-A011-47A1-B2AD-14FD4A842E01}" dt="2020-01-30T08:01:56.455" v="12" actId="20577"/>
        <pc:sldMkLst>
          <pc:docMk/>
          <pc:sldMk cId="1196121053" sldId="260"/>
        </pc:sldMkLst>
        <pc:spChg chg="mod">
          <ac:chgData name="Batuhan Yildiz" userId="90f344fc-4655-4923-aeaf-697bba59c1a7" providerId="ADAL" clId="{73D0611D-A011-47A1-B2AD-14FD4A842E01}" dt="2020-01-30T08:01:51.602" v="10" actId="20577"/>
          <ac:spMkLst>
            <pc:docMk/>
            <pc:sldMk cId="1196121053" sldId="260"/>
            <ac:spMk id="4" creationId="{5D85DF47-300F-4085-B774-DDE734B96F99}"/>
          </ac:spMkLst>
        </pc:spChg>
        <pc:spChg chg="mod">
          <ac:chgData name="Batuhan Yildiz" userId="90f344fc-4655-4923-aeaf-697bba59c1a7" providerId="ADAL" clId="{73D0611D-A011-47A1-B2AD-14FD4A842E01}" dt="2020-01-30T08:01:56.455" v="12" actId="20577"/>
          <ac:spMkLst>
            <pc:docMk/>
            <pc:sldMk cId="1196121053" sldId="260"/>
            <ac:spMk id="5" creationId="{806AE5AE-CAF0-4BF4-872E-C97AF8874A6F}"/>
          </ac:spMkLst>
        </pc:spChg>
      </pc:sldChg>
      <pc:sldChg chg="modSp mod">
        <pc:chgData name="Batuhan Yildiz" userId="90f344fc-4655-4923-aeaf-697bba59c1a7" providerId="ADAL" clId="{73D0611D-A011-47A1-B2AD-14FD4A842E01}" dt="2020-01-30T08:05:04.119" v="75" actId="20577"/>
        <pc:sldMkLst>
          <pc:docMk/>
          <pc:sldMk cId="2621600474" sldId="534"/>
        </pc:sldMkLst>
        <pc:spChg chg="mod">
          <ac:chgData name="Batuhan Yildiz" userId="90f344fc-4655-4923-aeaf-697bba59c1a7" providerId="ADAL" clId="{73D0611D-A011-47A1-B2AD-14FD4A842E01}" dt="2020-01-30T08:05:04.119" v="75" actId="20577"/>
          <ac:spMkLst>
            <pc:docMk/>
            <pc:sldMk cId="2621600474" sldId="534"/>
            <ac:spMk id="5" creationId="{55182462-DFDF-4D48-A92C-42FD52821C4E}"/>
          </ac:spMkLst>
        </pc:spChg>
      </pc:sldChg>
      <pc:sldChg chg="modSp mod">
        <pc:chgData name="Batuhan Yildiz" userId="90f344fc-4655-4923-aeaf-697bba59c1a7" providerId="ADAL" clId="{73D0611D-A011-47A1-B2AD-14FD4A842E01}" dt="2020-01-30T08:03:02.729" v="18" actId="14100"/>
        <pc:sldMkLst>
          <pc:docMk/>
          <pc:sldMk cId="4083746080" sldId="561"/>
        </pc:sldMkLst>
        <pc:spChg chg="mod">
          <ac:chgData name="Batuhan Yildiz" userId="90f344fc-4655-4923-aeaf-697bba59c1a7" providerId="ADAL" clId="{73D0611D-A011-47A1-B2AD-14FD4A842E01}" dt="2020-01-30T08:03:02.729" v="18" actId="14100"/>
          <ac:spMkLst>
            <pc:docMk/>
            <pc:sldMk cId="4083746080" sldId="561"/>
            <ac:spMk id="2" creationId="{74CD77A6-E28D-4D8D-9FE5-64ADAA827AC9}"/>
          </ac:spMkLst>
        </pc:spChg>
      </pc:sldChg>
      <pc:sldChg chg="modSp mod">
        <pc:chgData name="Batuhan Yildiz" userId="90f344fc-4655-4923-aeaf-697bba59c1a7" providerId="ADAL" clId="{73D0611D-A011-47A1-B2AD-14FD4A842E01}" dt="2020-01-30T08:02:33.981" v="14" actId="14100"/>
        <pc:sldMkLst>
          <pc:docMk/>
          <pc:sldMk cId="1615560134" sldId="562"/>
        </pc:sldMkLst>
        <pc:spChg chg="mod">
          <ac:chgData name="Batuhan Yildiz" userId="90f344fc-4655-4923-aeaf-697bba59c1a7" providerId="ADAL" clId="{73D0611D-A011-47A1-B2AD-14FD4A842E01}" dt="2020-01-30T08:02:33.981" v="14" actId="14100"/>
          <ac:spMkLst>
            <pc:docMk/>
            <pc:sldMk cId="1615560134" sldId="562"/>
            <ac:spMk id="3" creationId="{859B2BAE-A383-4E74-B3CF-9AC64DA11727}"/>
          </ac:spMkLst>
        </pc:spChg>
      </pc:sldChg>
      <pc:sldChg chg="modSp">
        <pc:chgData name="Batuhan Yildiz" userId="90f344fc-4655-4923-aeaf-697bba59c1a7" providerId="ADAL" clId="{73D0611D-A011-47A1-B2AD-14FD4A842E01}" dt="2020-01-30T08:05:37.854" v="76"/>
        <pc:sldMkLst>
          <pc:docMk/>
          <pc:sldMk cId="289400407" sldId="564"/>
        </pc:sldMkLst>
        <pc:spChg chg="mod">
          <ac:chgData name="Batuhan Yildiz" userId="90f344fc-4655-4923-aeaf-697bba59c1a7" providerId="ADAL" clId="{73D0611D-A011-47A1-B2AD-14FD4A842E01}" dt="2020-01-30T08:05:37.854" v="76"/>
          <ac:spMkLst>
            <pc:docMk/>
            <pc:sldMk cId="289400407" sldId="564"/>
            <ac:spMk id="2" creationId="{74CD77A6-E28D-4D8D-9FE5-64ADAA827AC9}"/>
          </ac:spMkLst>
        </pc:spChg>
      </pc:sldChg>
      <pc:sldChg chg="modSp mod">
        <pc:chgData name="Batuhan Yildiz" userId="90f344fc-4655-4923-aeaf-697bba59c1a7" providerId="ADAL" clId="{73D0611D-A011-47A1-B2AD-14FD4A842E01}" dt="2020-01-30T08:08:29.799" v="134" actId="6549"/>
        <pc:sldMkLst>
          <pc:docMk/>
          <pc:sldMk cId="2034824179" sldId="565"/>
        </pc:sldMkLst>
        <pc:spChg chg="mod">
          <ac:chgData name="Batuhan Yildiz" userId="90f344fc-4655-4923-aeaf-697bba59c1a7" providerId="ADAL" clId="{73D0611D-A011-47A1-B2AD-14FD4A842E01}" dt="2020-01-30T08:08:29.799" v="134" actId="6549"/>
          <ac:spMkLst>
            <pc:docMk/>
            <pc:sldMk cId="2034824179" sldId="565"/>
            <ac:spMk id="5" creationId="{55182462-DFDF-4D48-A92C-42FD52821C4E}"/>
          </ac:spMkLst>
        </pc:spChg>
      </pc:sldChg>
      <pc:sldChg chg="modSp">
        <pc:chgData name="Batuhan Yildiz" userId="90f344fc-4655-4923-aeaf-697bba59c1a7" providerId="ADAL" clId="{73D0611D-A011-47A1-B2AD-14FD4A842E01}" dt="2020-01-30T08:08:56.695" v="135"/>
        <pc:sldMkLst>
          <pc:docMk/>
          <pc:sldMk cId="57495843" sldId="571"/>
        </pc:sldMkLst>
        <pc:spChg chg="mod">
          <ac:chgData name="Batuhan Yildiz" userId="90f344fc-4655-4923-aeaf-697bba59c1a7" providerId="ADAL" clId="{73D0611D-A011-47A1-B2AD-14FD4A842E01}" dt="2020-01-30T08:08:56.695" v="135"/>
          <ac:spMkLst>
            <pc:docMk/>
            <pc:sldMk cId="57495843" sldId="571"/>
            <ac:spMk id="2" creationId="{74CD77A6-E28D-4D8D-9FE5-64ADAA827AC9}"/>
          </ac:spMkLst>
        </pc:spChg>
      </pc:sldChg>
      <pc:sldChg chg="modSp mod">
        <pc:chgData name="Batuhan Yildiz" userId="90f344fc-4655-4923-aeaf-697bba59c1a7" providerId="ADAL" clId="{73D0611D-A011-47A1-B2AD-14FD4A842E01}" dt="2020-01-30T08:10:43.661" v="220" actId="20577"/>
        <pc:sldMkLst>
          <pc:docMk/>
          <pc:sldMk cId="2314306782" sldId="572"/>
        </pc:sldMkLst>
        <pc:spChg chg="mod">
          <ac:chgData name="Batuhan Yildiz" userId="90f344fc-4655-4923-aeaf-697bba59c1a7" providerId="ADAL" clId="{73D0611D-A011-47A1-B2AD-14FD4A842E01}" dt="2020-01-30T08:10:43.661" v="220" actId="20577"/>
          <ac:spMkLst>
            <pc:docMk/>
            <pc:sldMk cId="2314306782" sldId="572"/>
            <ac:spMk id="5" creationId="{55182462-DFDF-4D48-A92C-42FD52821C4E}"/>
          </ac:spMkLst>
        </pc:spChg>
      </pc:sldChg>
      <pc:sldChg chg="del">
        <pc:chgData name="Batuhan Yildiz" userId="90f344fc-4655-4923-aeaf-697bba59c1a7" providerId="ADAL" clId="{73D0611D-A011-47A1-B2AD-14FD4A842E01}" dt="2020-01-30T08:11:06.931" v="221" actId="47"/>
        <pc:sldMkLst>
          <pc:docMk/>
          <pc:sldMk cId="2604901344" sldId="578"/>
        </pc:sldMkLst>
      </pc:sldChg>
      <pc:sldChg chg="del">
        <pc:chgData name="Batuhan Yildiz" userId="90f344fc-4655-4923-aeaf-697bba59c1a7" providerId="ADAL" clId="{73D0611D-A011-47A1-B2AD-14FD4A842E01}" dt="2020-01-30T08:11:06.931" v="221" actId="47"/>
        <pc:sldMkLst>
          <pc:docMk/>
          <pc:sldMk cId="1403018791" sldId="579"/>
        </pc:sldMkLst>
      </pc:sldChg>
      <pc:sldChg chg="del">
        <pc:chgData name="Batuhan Yildiz" userId="90f344fc-4655-4923-aeaf-697bba59c1a7" providerId="ADAL" clId="{73D0611D-A011-47A1-B2AD-14FD4A842E01}" dt="2020-01-30T08:11:06.931" v="221" actId="47"/>
        <pc:sldMkLst>
          <pc:docMk/>
          <pc:sldMk cId="3819752479" sldId="580"/>
        </pc:sldMkLst>
      </pc:sldChg>
      <pc:sldChg chg="del">
        <pc:chgData name="Batuhan Yildiz" userId="90f344fc-4655-4923-aeaf-697bba59c1a7" providerId="ADAL" clId="{73D0611D-A011-47A1-B2AD-14FD4A842E01}" dt="2020-01-30T08:11:06.931" v="221" actId="47"/>
        <pc:sldMkLst>
          <pc:docMk/>
          <pc:sldMk cId="159196581" sldId="581"/>
        </pc:sldMkLst>
      </pc:sldChg>
      <pc:sldChg chg="del">
        <pc:chgData name="Batuhan Yildiz" userId="90f344fc-4655-4923-aeaf-697bba59c1a7" providerId="ADAL" clId="{73D0611D-A011-47A1-B2AD-14FD4A842E01}" dt="2020-01-30T08:11:06.931" v="221" actId="47"/>
        <pc:sldMkLst>
          <pc:docMk/>
          <pc:sldMk cId="1046573154" sldId="582"/>
        </pc:sldMkLst>
      </pc:sldChg>
      <pc:sldChg chg="del">
        <pc:chgData name="Batuhan Yildiz" userId="90f344fc-4655-4923-aeaf-697bba59c1a7" providerId="ADAL" clId="{73D0611D-A011-47A1-B2AD-14FD4A842E01}" dt="2020-01-30T08:11:06.931" v="221" actId="47"/>
        <pc:sldMkLst>
          <pc:docMk/>
          <pc:sldMk cId="3001108781" sldId="583"/>
        </pc:sldMkLst>
      </pc:sldChg>
      <pc:sldChg chg="del">
        <pc:chgData name="Batuhan Yildiz" userId="90f344fc-4655-4923-aeaf-697bba59c1a7" providerId="ADAL" clId="{73D0611D-A011-47A1-B2AD-14FD4A842E01}" dt="2020-01-30T08:11:06.931" v="221" actId="47"/>
        <pc:sldMkLst>
          <pc:docMk/>
          <pc:sldMk cId="2092846825" sldId="584"/>
        </pc:sldMkLst>
      </pc:sldChg>
      <pc:sldChg chg="del">
        <pc:chgData name="Batuhan Yildiz" userId="90f344fc-4655-4923-aeaf-697bba59c1a7" providerId="ADAL" clId="{73D0611D-A011-47A1-B2AD-14FD4A842E01}" dt="2020-01-30T08:11:06.931" v="221" actId="47"/>
        <pc:sldMkLst>
          <pc:docMk/>
          <pc:sldMk cId="4221138358" sldId="585"/>
        </pc:sldMkLst>
      </pc:sldChg>
      <pc:sldChg chg="del">
        <pc:chgData name="Batuhan Yildiz" userId="90f344fc-4655-4923-aeaf-697bba59c1a7" providerId="ADAL" clId="{73D0611D-A011-47A1-B2AD-14FD4A842E01}" dt="2020-01-30T08:11:06.931" v="221" actId="47"/>
        <pc:sldMkLst>
          <pc:docMk/>
          <pc:sldMk cId="577140418" sldId="586"/>
        </pc:sldMkLst>
      </pc:sldChg>
      <pc:sldChg chg="del">
        <pc:chgData name="Batuhan Yildiz" userId="90f344fc-4655-4923-aeaf-697bba59c1a7" providerId="ADAL" clId="{73D0611D-A011-47A1-B2AD-14FD4A842E01}" dt="2020-01-30T08:11:06.931" v="221" actId="47"/>
        <pc:sldMkLst>
          <pc:docMk/>
          <pc:sldMk cId="661700826" sldId="587"/>
        </pc:sldMkLst>
      </pc:sldChg>
      <pc:sldChg chg="del">
        <pc:chgData name="Batuhan Yildiz" userId="90f344fc-4655-4923-aeaf-697bba59c1a7" providerId="ADAL" clId="{73D0611D-A011-47A1-B2AD-14FD4A842E01}" dt="2020-01-30T08:11:06.931" v="221" actId="47"/>
        <pc:sldMkLst>
          <pc:docMk/>
          <pc:sldMk cId="471539456" sldId="588"/>
        </pc:sldMkLst>
      </pc:sldChg>
      <pc:sldChg chg="del">
        <pc:chgData name="Batuhan Yildiz" userId="90f344fc-4655-4923-aeaf-697bba59c1a7" providerId="ADAL" clId="{73D0611D-A011-47A1-B2AD-14FD4A842E01}" dt="2020-01-30T08:11:06.931" v="221" actId="47"/>
        <pc:sldMkLst>
          <pc:docMk/>
          <pc:sldMk cId="2646513380" sldId="589"/>
        </pc:sldMkLst>
      </pc:sldChg>
      <pc:sldChg chg="del">
        <pc:chgData name="Batuhan Yildiz" userId="90f344fc-4655-4923-aeaf-697bba59c1a7" providerId="ADAL" clId="{73D0611D-A011-47A1-B2AD-14FD4A842E01}" dt="2020-01-30T08:11:06.931" v="221" actId="47"/>
        <pc:sldMkLst>
          <pc:docMk/>
          <pc:sldMk cId="2880690618" sldId="590"/>
        </pc:sldMkLst>
      </pc:sldChg>
      <pc:sldChg chg="del">
        <pc:chgData name="Batuhan Yildiz" userId="90f344fc-4655-4923-aeaf-697bba59c1a7" providerId="ADAL" clId="{73D0611D-A011-47A1-B2AD-14FD4A842E01}" dt="2020-01-30T08:11:06.931" v="221" actId="47"/>
        <pc:sldMkLst>
          <pc:docMk/>
          <pc:sldMk cId="65979341" sldId="591"/>
        </pc:sldMkLst>
      </pc:sldChg>
      <pc:sldChg chg="del">
        <pc:chgData name="Batuhan Yildiz" userId="90f344fc-4655-4923-aeaf-697bba59c1a7" providerId="ADAL" clId="{73D0611D-A011-47A1-B2AD-14FD4A842E01}" dt="2020-01-30T08:11:06.931" v="221" actId="47"/>
        <pc:sldMkLst>
          <pc:docMk/>
          <pc:sldMk cId="1520463761" sldId="592"/>
        </pc:sldMkLst>
      </pc:sldChg>
      <pc:sldChg chg="del">
        <pc:chgData name="Batuhan Yildiz" userId="90f344fc-4655-4923-aeaf-697bba59c1a7" providerId="ADAL" clId="{73D0611D-A011-47A1-B2AD-14FD4A842E01}" dt="2020-01-30T08:11:06.931" v="221" actId="47"/>
        <pc:sldMkLst>
          <pc:docMk/>
          <pc:sldMk cId="418979536" sldId="593"/>
        </pc:sldMkLst>
      </pc:sldChg>
      <pc:sldChg chg="del">
        <pc:chgData name="Batuhan Yildiz" userId="90f344fc-4655-4923-aeaf-697bba59c1a7" providerId="ADAL" clId="{73D0611D-A011-47A1-B2AD-14FD4A842E01}" dt="2020-01-30T08:11:06.931" v="221" actId="47"/>
        <pc:sldMkLst>
          <pc:docMk/>
          <pc:sldMk cId="1309115212" sldId="594"/>
        </pc:sldMkLst>
      </pc:sldChg>
      <pc:sldChg chg="del">
        <pc:chgData name="Batuhan Yildiz" userId="90f344fc-4655-4923-aeaf-697bba59c1a7" providerId="ADAL" clId="{73D0611D-A011-47A1-B2AD-14FD4A842E01}" dt="2020-01-30T08:11:06.931" v="221" actId="47"/>
        <pc:sldMkLst>
          <pc:docMk/>
          <pc:sldMk cId="2185982150" sldId="595"/>
        </pc:sldMkLst>
      </pc:sldChg>
      <pc:sldChg chg="del">
        <pc:chgData name="Batuhan Yildiz" userId="90f344fc-4655-4923-aeaf-697bba59c1a7" providerId="ADAL" clId="{73D0611D-A011-47A1-B2AD-14FD4A842E01}" dt="2020-01-30T08:11:06.931" v="221" actId="47"/>
        <pc:sldMkLst>
          <pc:docMk/>
          <pc:sldMk cId="3232471753" sldId="596"/>
        </pc:sldMkLst>
      </pc:sldChg>
      <pc:sldChg chg="del">
        <pc:chgData name="Batuhan Yildiz" userId="90f344fc-4655-4923-aeaf-697bba59c1a7" providerId="ADAL" clId="{73D0611D-A011-47A1-B2AD-14FD4A842E01}" dt="2020-01-30T08:11:06.931" v="221" actId="47"/>
        <pc:sldMkLst>
          <pc:docMk/>
          <pc:sldMk cId="222379813" sldId="597"/>
        </pc:sldMkLst>
      </pc:sldChg>
      <pc:sldChg chg="del">
        <pc:chgData name="Batuhan Yildiz" userId="90f344fc-4655-4923-aeaf-697bba59c1a7" providerId="ADAL" clId="{73D0611D-A011-47A1-B2AD-14FD4A842E01}" dt="2020-01-30T08:11:06.931" v="221" actId="47"/>
        <pc:sldMkLst>
          <pc:docMk/>
          <pc:sldMk cId="4052405621" sldId="598"/>
        </pc:sldMkLst>
      </pc:sldChg>
      <pc:sldChg chg="del">
        <pc:chgData name="Batuhan Yildiz" userId="90f344fc-4655-4923-aeaf-697bba59c1a7" providerId="ADAL" clId="{73D0611D-A011-47A1-B2AD-14FD4A842E01}" dt="2020-01-30T08:11:06.931" v="221" actId="47"/>
        <pc:sldMkLst>
          <pc:docMk/>
          <pc:sldMk cId="3471004044" sldId="599"/>
        </pc:sldMkLst>
      </pc:sldChg>
      <pc:sldChg chg="del">
        <pc:chgData name="Batuhan Yildiz" userId="90f344fc-4655-4923-aeaf-697bba59c1a7" providerId="ADAL" clId="{73D0611D-A011-47A1-B2AD-14FD4A842E01}" dt="2020-01-30T08:11:06.931" v="221" actId="47"/>
        <pc:sldMkLst>
          <pc:docMk/>
          <pc:sldMk cId="4115121909" sldId="600"/>
        </pc:sldMkLst>
      </pc:sldChg>
      <pc:sldChg chg="del">
        <pc:chgData name="Batuhan Yildiz" userId="90f344fc-4655-4923-aeaf-697bba59c1a7" providerId="ADAL" clId="{73D0611D-A011-47A1-B2AD-14FD4A842E01}" dt="2020-01-30T08:11:06.931" v="221" actId="47"/>
        <pc:sldMkLst>
          <pc:docMk/>
          <pc:sldMk cId="3920792206" sldId="601"/>
        </pc:sldMkLst>
      </pc:sldChg>
      <pc:sldChg chg="del">
        <pc:chgData name="Batuhan Yildiz" userId="90f344fc-4655-4923-aeaf-697bba59c1a7" providerId="ADAL" clId="{73D0611D-A011-47A1-B2AD-14FD4A842E01}" dt="2020-01-30T08:11:06.931" v="221" actId="47"/>
        <pc:sldMkLst>
          <pc:docMk/>
          <pc:sldMk cId="354104108" sldId="602"/>
        </pc:sldMkLst>
      </pc:sldChg>
      <pc:sldChg chg="del">
        <pc:chgData name="Batuhan Yildiz" userId="90f344fc-4655-4923-aeaf-697bba59c1a7" providerId="ADAL" clId="{73D0611D-A011-47A1-B2AD-14FD4A842E01}" dt="2020-01-30T08:11:06.931" v="221" actId="47"/>
        <pc:sldMkLst>
          <pc:docMk/>
          <pc:sldMk cId="3518365308" sldId="603"/>
        </pc:sldMkLst>
      </pc:sldChg>
      <pc:sldChg chg="del">
        <pc:chgData name="Batuhan Yildiz" userId="90f344fc-4655-4923-aeaf-697bba59c1a7" providerId="ADAL" clId="{73D0611D-A011-47A1-B2AD-14FD4A842E01}" dt="2020-01-30T08:11:06.931" v="221" actId="47"/>
        <pc:sldMkLst>
          <pc:docMk/>
          <pc:sldMk cId="665790311" sldId="604"/>
        </pc:sldMkLst>
      </pc:sldChg>
      <pc:sldChg chg="del">
        <pc:chgData name="Batuhan Yildiz" userId="90f344fc-4655-4923-aeaf-697bba59c1a7" providerId="ADAL" clId="{73D0611D-A011-47A1-B2AD-14FD4A842E01}" dt="2020-01-30T08:11:06.931" v="221" actId="47"/>
        <pc:sldMkLst>
          <pc:docMk/>
          <pc:sldMk cId="806903252" sldId="605"/>
        </pc:sldMkLst>
      </pc:sldChg>
    </pc:docChg>
  </pc:docChgLst>
</pc:chgInfo>
</file>

<file path=ppt/diagrams/_rels/data15.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svg"/><Relationship Id="rId1" Type="http://schemas.openxmlformats.org/officeDocument/2006/relationships/image" Target="../media/image23.png"/><Relationship Id="rId6" Type="http://schemas.openxmlformats.org/officeDocument/2006/relationships/image" Target="../media/image28.svg"/><Relationship Id="rId5" Type="http://schemas.openxmlformats.org/officeDocument/2006/relationships/image" Target="../media/image27.png"/><Relationship Id="rId10" Type="http://schemas.openxmlformats.org/officeDocument/2006/relationships/image" Target="../media/image32.svg"/><Relationship Id="rId4" Type="http://schemas.openxmlformats.org/officeDocument/2006/relationships/image" Target="../media/image26.svg"/><Relationship Id="rId9" Type="http://schemas.openxmlformats.org/officeDocument/2006/relationships/image" Target="../media/image31.png"/></Relationships>
</file>

<file path=ppt/diagrams/_rels/data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svg"/><Relationship Id="rId1" Type="http://schemas.openxmlformats.org/officeDocument/2006/relationships/image" Target="../media/image14.png"/><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diagrams/_rels/drawing15.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svg"/><Relationship Id="rId1" Type="http://schemas.openxmlformats.org/officeDocument/2006/relationships/image" Target="../media/image23.png"/><Relationship Id="rId6" Type="http://schemas.openxmlformats.org/officeDocument/2006/relationships/image" Target="../media/image28.svg"/><Relationship Id="rId5" Type="http://schemas.openxmlformats.org/officeDocument/2006/relationships/image" Target="../media/image27.png"/><Relationship Id="rId10" Type="http://schemas.openxmlformats.org/officeDocument/2006/relationships/image" Target="../media/image32.svg"/><Relationship Id="rId4" Type="http://schemas.openxmlformats.org/officeDocument/2006/relationships/image" Target="../media/image26.svg"/><Relationship Id="rId9" Type="http://schemas.openxmlformats.org/officeDocument/2006/relationships/image" Target="../media/image31.png"/></Relationships>
</file>

<file path=ppt/diagrams/_rels/drawing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svg"/><Relationship Id="rId1" Type="http://schemas.openxmlformats.org/officeDocument/2006/relationships/image" Target="../media/image14.png"/><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6D26C6C-C57D-468F-8925-C2B31E465B5C}" type="doc">
      <dgm:prSet loTypeId="urn:microsoft.com/office/officeart/2005/8/layout/vList5" loCatId="list" qsTypeId="urn:microsoft.com/office/officeart/2005/8/quickstyle/simple1" qsCatId="simple" csTypeId="urn:microsoft.com/office/officeart/2005/8/colors/colorful2" csCatId="colorful" phldr="1"/>
      <dgm:spPr/>
      <dgm:t>
        <a:bodyPr/>
        <a:lstStyle/>
        <a:p>
          <a:endParaRPr lang="en-US"/>
        </a:p>
      </dgm:t>
    </dgm:pt>
    <dgm:pt modelId="{040668D5-D158-42FF-8A05-6227891BBE87}">
      <dgm:prSet custT="1"/>
      <dgm:spPr/>
      <dgm:t>
        <a:bodyPr/>
        <a:lstStyle/>
        <a:p>
          <a:r>
            <a:rPr lang="en-US" sz="2800" baseline="0"/>
            <a:t>Affinity Mask</a:t>
          </a:r>
          <a:endParaRPr lang="en-US" sz="2800"/>
        </a:p>
      </dgm:t>
    </dgm:pt>
    <dgm:pt modelId="{3443D885-0BFF-4F5C-96E8-018D10A3184F}" type="parTrans" cxnId="{617DFBF6-C75D-427B-A0E9-C0BB50B1BD55}">
      <dgm:prSet/>
      <dgm:spPr/>
      <dgm:t>
        <a:bodyPr/>
        <a:lstStyle/>
        <a:p>
          <a:endParaRPr lang="en-US"/>
        </a:p>
      </dgm:t>
    </dgm:pt>
    <dgm:pt modelId="{E30C5A61-97E7-43D2-8049-4E7D0380921E}" type="sibTrans" cxnId="{617DFBF6-C75D-427B-A0E9-C0BB50B1BD55}">
      <dgm:prSet/>
      <dgm:spPr/>
      <dgm:t>
        <a:bodyPr/>
        <a:lstStyle/>
        <a:p>
          <a:endParaRPr lang="en-US"/>
        </a:p>
      </dgm:t>
    </dgm:pt>
    <dgm:pt modelId="{AD8BC824-2AA0-4F91-80CB-239A8CAF93BB}">
      <dgm:prSet custT="1"/>
      <dgm:spPr/>
      <dgm:t>
        <a:bodyPr/>
        <a:lstStyle/>
        <a:p>
          <a:r>
            <a:rPr lang="en-US" sz="1400" baseline="0" dirty="0">
              <a:latin typeface="+mn-lt"/>
            </a:rPr>
            <a:t>Assigns CPUs for SQL Server use</a:t>
          </a:r>
          <a:endParaRPr lang="en-US" sz="1400" dirty="0">
            <a:latin typeface="+mn-lt"/>
          </a:endParaRPr>
        </a:p>
      </dgm:t>
    </dgm:pt>
    <dgm:pt modelId="{85FB291B-D117-47CB-9B8C-579CED8AE15F}" type="parTrans" cxnId="{A53F2710-05C3-444F-AB26-FF0E67A359BF}">
      <dgm:prSet/>
      <dgm:spPr/>
      <dgm:t>
        <a:bodyPr/>
        <a:lstStyle/>
        <a:p>
          <a:endParaRPr lang="en-US"/>
        </a:p>
      </dgm:t>
    </dgm:pt>
    <dgm:pt modelId="{7BD220F5-0BB3-4479-BE90-C13A6FA69EB0}" type="sibTrans" cxnId="{A53F2710-05C3-444F-AB26-FF0E67A359BF}">
      <dgm:prSet/>
      <dgm:spPr/>
      <dgm:t>
        <a:bodyPr/>
        <a:lstStyle/>
        <a:p>
          <a:endParaRPr lang="en-US"/>
        </a:p>
      </dgm:t>
    </dgm:pt>
    <dgm:pt modelId="{79B18C80-4D1A-4F7F-8F7E-71691977B534}">
      <dgm:prSet custT="1"/>
      <dgm:spPr/>
      <dgm:t>
        <a:bodyPr/>
        <a:lstStyle/>
        <a:p>
          <a:r>
            <a:rPr lang="en-US" sz="1400" baseline="0" dirty="0">
              <a:latin typeface="+mn-lt"/>
            </a:rPr>
            <a:t>Set via sp_configure or Alter Server Configuration</a:t>
          </a:r>
          <a:endParaRPr lang="en-US" sz="1400" dirty="0">
            <a:latin typeface="+mn-lt"/>
          </a:endParaRPr>
        </a:p>
      </dgm:t>
    </dgm:pt>
    <dgm:pt modelId="{E6DA37E3-A4F4-4E7A-B736-AC0F6CBDEBE3}" type="parTrans" cxnId="{785C1D89-F8E6-4693-AEFA-3EDA38EE5991}">
      <dgm:prSet/>
      <dgm:spPr/>
      <dgm:t>
        <a:bodyPr/>
        <a:lstStyle/>
        <a:p>
          <a:endParaRPr lang="en-US"/>
        </a:p>
      </dgm:t>
    </dgm:pt>
    <dgm:pt modelId="{21DCECC8-64BB-4F47-AE62-99D8EBA57685}" type="sibTrans" cxnId="{785C1D89-F8E6-4693-AEFA-3EDA38EE5991}">
      <dgm:prSet/>
      <dgm:spPr/>
      <dgm:t>
        <a:bodyPr/>
        <a:lstStyle/>
        <a:p>
          <a:endParaRPr lang="en-US"/>
        </a:p>
      </dgm:t>
    </dgm:pt>
    <dgm:pt modelId="{5C017B2C-3345-4723-B4F9-5F0B1D7CA1FB}">
      <dgm:prSet custT="1"/>
      <dgm:spPr/>
      <dgm:t>
        <a:bodyPr/>
        <a:lstStyle/>
        <a:p>
          <a:r>
            <a:rPr lang="en-US" sz="2800" baseline="0"/>
            <a:t>Cost Threshold for Parallelism</a:t>
          </a:r>
          <a:endParaRPr lang="en-US" sz="2800"/>
        </a:p>
      </dgm:t>
    </dgm:pt>
    <dgm:pt modelId="{B33C3E50-F690-4BED-A482-DE2206ED393C}" type="parTrans" cxnId="{4AB556FC-B5D4-4F79-8861-D7E894F66883}">
      <dgm:prSet/>
      <dgm:spPr/>
      <dgm:t>
        <a:bodyPr/>
        <a:lstStyle/>
        <a:p>
          <a:endParaRPr lang="en-US"/>
        </a:p>
      </dgm:t>
    </dgm:pt>
    <dgm:pt modelId="{ED84AF96-527A-42D0-B747-8BB34E159D81}" type="sibTrans" cxnId="{4AB556FC-B5D4-4F79-8861-D7E894F66883}">
      <dgm:prSet/>
      <dgm:spPr/>
      <dgm:t>
        <a:bodyPr/>
        <a:lstStyle/>
        <a:p>
          <a:endParaRPr lang="en-US"/>
        </a:p>
      </dgm:t>
    </dgm:pt>
    <dgm:pt modelId="{FA408BAE-16AC-4206-A1BB-BEFCAE9D0CD5}">
      <dgm:prSet custT="1"/>
      <dgm:spPr/>
      <dgm:t>
        <a:bodyPr/>
        <a:lstStyle/>
        <a:p>
          <a:r>
            <a:rPr lang="en-US" sz="1400" baseline="0" dirty="0">
              <a:latin typeface="+mn-lt"/>
            </a:rPr>
            <a:t>Queries with a cost that is higher than this value </a:t>
          </a:r>
          <a:r>
            <a:rPr lang="en-US" sz="1400" baseline="0">
              <a:latin typeface="+mn-lt"/>
            </a:rPr>
            <a:t>will use </a:t>
          </a:r>
          <a:r>
            <a:rPr lang="en-US" sz="1400" baseline="0" dirty="0">
              <a:latin typeface="+mn-lt"/>
            </a:rPr>
            <a:t>parallelism</a:t>
          </a:r>
          <a:endParaRPr lang="en-US" sz="1400" dirty="0">
            <a:latin typeface="+mn-lt"/>
          </a:endParaRPr>
        </a:p>
      </dgm:t>
    </dgm:pt>
    <dgm:pt modelId="{C2446EEB-09C8-42F9-9B81-6B6250EB3AEA}" type="parTrans" cxnId="{8B9CDD84-197B-4447-9ECB-3C60A407F1B2}">
      <dgm:prSet/>
      <dgm:spPr/>
      <dgm:t>
        <a:bodyPr/>
        <a:lstStyle/>
        <a:p>
          <a:endParaRPr lang="en-US"/>
        </a:p>
      </dgm:t>
    </dgm:pt>
    <dgm:pt modelId="{F7599045-B043-494B-B6ED-68D007A7E0F0}" type="sibTrans" cxnId="{8B9CDD84-197B-4447-9ECB-3C60A407F1B2}">
      <dgm:prSet/>
      <dgm:spPr/>
      <dgm:t>
        <a:bodyPr/>
        <a:lstStyle/>
        <a:p>
          <a:endParaRPr lang="en-US"/>
        </a:p>
      </dgm:t>
    </dgm:pt>
    <dgm:pt modelId="{E3C0883C-8CD1-460D-8627-DA1B6A435134}">
      <dgm:prSet custT="1"/>
      <dgm:spPr/>
      <dgm:t>
        <a:bodyPr/>
        <a:lstStyle/>
        <a:p>
          <a:r>
            <a:rPr lang="en-US" sz="2800" baseline="0"/>
            <a:t>Max Worker Threads</a:t>
          </a:r>
          <a:endParaRPr lang="en-US" sz="2800"/>
        </a:p>
      </dgm:t>
    </dgm:pt>
    <dgm:pt modelId="{3B252554-04DB-4309-9FE1-5B6F070D6B27}" type="parTrans" cxnId="{E56DBB8E-A9CB-4E7E-BFD3-936E040F143A}">
      <dgm:prSet/>
      <dgm:spPr/>
      <dgm:t>
        <a:bodyPr/>
        <a:lstStyle/>
        <a:p>
          <a:endParaRPr lang="en-US"/>
        </a:p>
      </dgm:t>
    </dgm:pt>
    <dgm:pt modelId="{BCCD7F17-65CD-4833-BE67-37BAFEAB7EFD}" type="sibTrans" cxnId="{E56DBB8E-A9CB-4E7E-BFD3-936E040F143A}">
      <dgm:prSet/>
      <dgm:spPr/>
      <dgm:t>
        <a:bodyPr/>
        <a:lstStyle/>
        <a:p>
          <a:endParaRPr lang="en-US"/>
        </a:p>
      </dgm:t>
    </dgm:pt>
    <dgm:pt modelId="{0111A9D0-4EA4-4ECB-9403-72DD89DD4BB4}">
      <dgm:prSet custT="1"/>
      <dgm:spPr/>
      <dgm:t>
        <a:bodyPr/>
        <a:lstStyle/>
        <a:p>
          <a:r>
            <a:rPr lang="en-US" sz="1400" baseline="0" dirty="0">
              <a:latin typeface="+mn-lt"/>
            </a:rPr>
            <a:t>Number of threads SQL Server can allocate</a:t>
          </a:r>
          <a:endParaRPr lang="en-US" sz="1400" dirty="0">
            <a:latin typeface="+mn-lt"/>
          </a:endParaRPr>
        </a:p>
      </dgm:t>
    </dgm:pt>
    <dgm:pt modelId="{06D76CBA-59B5-45A3-8BE7-1ECDAA24443B}" type="parTrans" cxnId="{68C8187A-5CF6-4D8D-BF2A-0AF51A22FD8D}">
      <dgm:prSet/>
      <dgm:spPr/>
      <dgm:t>
        <a:bodyPr/>
        <a:lstStyle/>
        <a:p>
          <a:endParaRPr lang="en-US"/>
        </a:p>
      </dgm:t>
    </dgm:pt>
    <dgm:pt modelId="{D3C38AFF-AE03-42B9-A283-D01010B3D2FE}" type="sibTrans" cxnId="{68C8187A-5CF6-4D8D-BF2A-0AF51A22FD8D}">
      <dgm:prSet/>
      <dgm:spPr/>
      <dgm:t>
        <a:bodyPr/>
        <a:lstStyle/>
        <a:p>
          <a:endParaRPr lang="en-US"/>
        </a:p>
      </dgm:t>
    </dgm:pt>
    <dgm:pt modelId="{673DD419-A7BB-4D71-9B9A-74FC697ABA5A}">
      <dgm:prSet custT="1"/>
      <dgm:spPr/>
      <dgm:t>
        <a:bodyPr/>
        <a:lstStyle/>
        <a:p>
          <a:r>
            <a:rPr lang="en-US" sz="1400" baseline="0" dirty="0">
              <a:latin typeface="+mn-lt"/>
            </a:rPr>
            <a:t>Recommended value is 0. SQL Server will dynamically set the Max based on CPUs and CPU architecture. (</a:t>
          </a:r>
          <a:r>
            <a:rPr lang="en-US" sz="1400" dirty="0">
              <a:solidFill>
                <a:schemeClr val="tx1"/>
              </a:solidFill>
              <a:latin typeface="+mn-lt"/>
              <a:ea typeface="Times New Roman"/>
              <a:cs typeface="Times New Roman"/>
            </a:rPr>
            <a:t>512 + (Processors -4) *16)</a:t>
          </a:r>
          <a:endParaRPr lang="en-US" sz="1400" dirty="0">
            <a:solidFill>
              <a:schemeClr val="tx1"/>
            </a:solidFill>
            <a:latin typeface="+mn-lt"/>
          </a:endParaRPr>
        </a:p>
      </dgm:t>
    </dgm:pt>
    <dgm:pt modelId="{F8463E4F-62FF-433C-B871-B3FBB73B71CB}" type="parTrans" cxnId="{A5F6A512-D01E-44F7-9BFE-C8328F904F86}">
      <dgm:prSet/>
      <dgm:spPr/>
      <dgm:t>
        <a:bodyPr/>
        <a:lstStyle/>
        <a:p>
          <a:endParaRPr lang="en-US"/>
        </a:p>
      </dgm:t>
    </dgm:pt>
    <dgm:pt modelId="{5C171E2D-237C-447C-B8FE-32A672CF5DE0}" type="sibTrans" cxnId="{A5F6A512-D01E-44F7-9BFE-C8328F904F86}">
      <dgm:prSet/>
      <dgm:spPr/>
      <dgm:t>
        <a:bodyPr/>
        <a:lstStyle/>
        <a:p>
          <a:endParaRPr lang="en-US"/>
        </a:p>
      </dgm:t>
    </dgm:pt>
    <dgm:pt modelId="{C4BEF1E5-5BCB-4C18-89DF-52CDE2A40D33}">
      <dgm:prSet custT="1"/>
      <dgm:spPr/>
      <dgm:t>
        <a:bodyPr/>
        <a:lstStyle/>
        <a:p>
          <a:r>
            <a:rPr lang="en-US" sz="1400" dirty="0">
              <a:latin typeface="+mn-lt"/>
            </a:rPr>
            <a:t>Only required in specific scenarios</a:t>
          </a:r>
        </a:p>
      </dgm:t>
    </dgm:pt>
    <dgm:pt modelId="{8D33063C-2528-4272-BFBD-829C90A457B8}" type="parTrans" cxnId="{518EF2D5-316A-46E4-8AD5-26F9CD3054D6}">
      <dgm:prSet/>
      <dgm:spPr/>
      <dgm:t>
        <a:bodyPr/>
        <a:lstStyle/>
        <a:p>
          <a:endParaRPr lang="en-US"/>
        </a:p>
      </dgm:t>
    </dgm:pt>
    <dgm:pt modelId="{46CC95F0-7DC3-40B7-9B4D-FA871A78508D}" type="sibTrans" cxnId="{518EF2D5-316A-46E4-8AD5-26F9CD3054D6}">
      <dgm:prSet/>
      <dgm:spPr/>
      <dgm:t>
        <a:bodyPr/>
        <a:lstStyle/>
        <a:p>
          <a:endParaRPr lang="en-US"/>
        </a:p>
      </dgm:t>
    </dgm:pt>
    <dgm:pt modelId="{14424429-C457-44B9-A919-74844DB70ACC}">
      <dgm:prSet custT="1"/>
      <dgm:spPr/>
      <dgm:t>
        <a:bodyPr/>
        <a:lstStyle/>
        <a:p>
          <a:r>
            <a:rPr lang="en-US" sz="1400" dirty="0">
              <a:latin typeface="+mn-lt"/>
            </a:rPr>
            <a:t>Only required when dealing with excessive parallelism</a:t>
          </a:r>
        </a:p>
      </dgm:t>
    </dgm:pt>
    <dgm:pt modelId="{24F7A5B3-FA70-4858-AD29-AE3AC1942895}" type="parTrans" cxnId="{1F76C0EF-A5A3-4671-9EAE-2F267ACDC4B1}">
      <dgm:prSet/>
      <dgm:spPr/>
      <dgm:t>
        <a:bodyPr/>
        <a:lstStyle/>
        <a:p>
          <a:endParaRPr lang="en-US"/>
        </a:p>
      </dgm:t>
    </dgm:pt>
    <dgm:pt modelId="{83F07B63-2711-474F-A878-5EF6ACA57965}" type="sibTrans" cxnId="{1F76C0EF-A5A3-4671-9EAE-2F267ACDC4B1}">
      <dgm:prSet/>
      <dgm:spPr/>
      <dgm:t>
        <a:bodyPr/>
        <a:lstStyle/>
        <a:p>
          <a:endParaRPr lang="en-US"/>
        </a:p>
      </dgm:t>
    </dgm:pt>
    <dgm:pt modelId="{E5A17D81-9425-498C-9FB2-025AA476ED25}">
      <dgm:prSet/>
      <dgm:spPr/>
      <dgm:t>
        <a:bodyPr/>
        <a:lstStyle/>
        <a:p>
          <a:r>
            <a:rPr lang="en-US" dirty="0"/>
            <a:t>Max Degree of Parallelism (MAXDOP)</a:t>
          </a:r>
        </a:p>
      </dgm:t>
    </dgm:pt>
    <dgm:pt modelId="{0C2B6FB2-9CC1-4987-A7B3-DFC12A78C9CF}" type="parTrans" cxnId="{6AC3C21B-536A-4F4F-B0DD-CAF540759127}">
      <dgm:prSet/>
      <dgm:spPr/>
      <dgm:t>
        <a:bodyPr/>
        <a:lstStyle/>
        <a:p>
          <a:endParaRPr lang="en-US"/>
        </a:p>
      </dgm:t>
    </dgm:pt>
    <dgm:pt modelId="{C7652C1E-B373-47A4-9044-1EC8C29AA3F4}" type="sibTrans" cxnId="{6AC3C21B-536A-4F4F-B0DD-CAF540759127}">
      <dgm:prSet/>
      <dgm:spPr/>
      <dgm:t>
        <a:bodyPr/>
        <a:lstStyle/>
        <a:p>
          <a:endParaRPr lang="en-US"/>
        </a:p>
      </dgm:t>
    </dgm:pt>
    <dgm:pt modelId="{5C0E84C6-F839-4E1F-9187-916E1ABE5264}">
      <dgm:prSet custT="1"/>
      <dgm:spPr/>
      <dgm:t>
        <a:bodyPr/>
        <a:lstStyle/>
        <a:p>
          <a:r>
            <a:rPr lang="en-US" sz="1400" b="0" dirty="0">
              <a:latin typeface="+mn-lt"/>
            </a:rPr>
            <a:t>Maximum number of processors that are used for the execution of a query in a parallel plan. This option determines the number of threads that are used for the query plan operators that perform the work in parallel. </a:t>
          </a:r>
          <a:endParaRPr lang="en-US" sz="1400" dirty="0">
            <a:latin typeface="+mn-lt"/>
          </a:endParaRPr>
        </a:p>
      </dgm:t>
    </dgm:pt>
    <dgm:pt modelId="{0C799F00-D0FC-4701-B766-0DAAAEBA6B0C}" type="parTrans" cxnId="{2E13961E-F560-4941-9DED-BFB920874662}">
      <dgm:prSet/>
      <dgm:spPr/>
      <dgm:t>
        <a:bodyPr/>
        <a:lstStyle/>
        <a:p>
          <a:endParaRPr lang="en-US"/>
        </a:p>
      </dgm:t>
    </dgm:pt>
    <dgm:pt modelId="{C4708B52-6DB5-4643-8FE5-35D9F3ACBD20}" type="sibTrans" cxnId="{2E13961E-F560-4941-9DED-BFB920874662}">
      <dgm:prSet/>
      <dgm:spPr/>
      <dgm:t>
        <a:bodyPr/>
        <a:lstStyle/>
        <a:p>
          <a:endParaRPr lang="en-US"/>
        </a:p>
      </dgm:t>
    </dgm:pt>
    <dgm:pt modelId="{E59B607E-D7E8-4303-8EC9-9BE16B4A0A1E}" type="pres">
      <dgm:prSet presAssocID="{16D26C6C-C57D-468F-8925-C2B31E465B5C}" presName="Name0" presStyleCnt="0">
        <dgm:presLayoutVars>
          <dgm:dir/>
          <dgm:animLvl val="lvl"/>
          <dgm:resizeHandles val="exact"/>
        </dgm:presLayoutVars>
      </dgm:prSet>
      <dgm:spPr/>
    </dgm:pt>
    <dgm:pt modelId="{19E50DBC-E898-45D6-8AF0-A89C3ED2EAF7}" type="pres">
      <dgm:prSet presAssocID="{040668D5-D158-42FF-8A05-6227891BBE87}" presName="linNode" presStyleCnt="0"/>
      <dgm:spPr/>
    </dgm:pt>
    <dgm:pt modelId="{14EDB1D3-1B6D-42F3-A18A-8F1B7C1B8D4F}" type="pres">
      <dgm:prSet presAssocID="{040668D5-D158-42FF-8A05-6227891BBE87}" presName="parentText" presStyleLbl="node1" presStyleIdx="0" presStyleCnt="4">
        <dgm:presLayoutVars>
          <dgm:chMax val="1"/>
          <dgm:bulletEnabled val="1"/>
        </dgm:presLayoutVars>
      </dgm:prSet>
      <dgm:spPr/>
    </dgm:pt>
    <dgm:pt modelId="{8DD63552-03A9-4B58-92DC-A92FAE514C1F}" type="pres">
      <dgm:prSet presAssocID="{040668D5-D158-42FF-8A05-6227891BBE87}" presName="descendantText" presStyleLbl="alignAccFollowNode1" presStyleIdx="0" presStyleCnt="4">
        <dgm:presLayoutVars>
          <dgm:bulletEnabled val="1"/>
        </dgm:presLayoutVars>
      </dgm:prSet>
      <dgm:spPr/>
    </dgm:pt>
    <dgm:pt modelId="{6DB81156-D2DD-4966-B9F5-536303F40B39}" type="pres">
      <dgm:prSet presAssocID="{E30C5A61-97E7-43D2-8049-4E7D0380921E}" presName="sp" presStyleCnt="0"/>
      <dgm:spPr/>
    </dgm:pt>
    <dgm:pt modelId="{E06E13B5-21BA-4EB4-B5B4-A785370EB763}" type="pres">
      <dgm:prSet presAssocID="{E5A17D81-9425-498C-9FB2-025AA476ED25}" presName="linNode" presStyleCnt="0"/>
      <dgm:spPr/>
    </dgm:pt>
    <dgm:pt modelId="{1AF58E77-9F49-4F5F-B653-8F36EA006238}" type="pres">
      <dgm:prSet presAssocID="{E5A17D81-9425-498C-9FB2-025AA476ED25}" presName="parentText" presStyleLbl="node1" presStyleIdx="1" presStyleCnt="4">
        <dgm:presLayoutVars>
          <dgm:chMax val="1"/>
          <dgm:bulletEnabled val="1"/>
        </dgm:presLayoutVars>
      </dgm:prSet>
      <dgm:spPr/>
    </dgm:pt>
    <dgm:pt modelId="{E284ED2E-BE76-443D-9061-D1D23D755A4E}" type="pres">
      <dgm:prSet presAssocID="{E5A17D81-9425-498C-9FB2-025AA476ED25}" presName="descendantText" presStyleLbl="alignAccFollowNode1" presStyleIdx="1" presStyleCnt="4">
        <dgm:presLayoutVars>
          <dgm:bulletEnabled val="1"/>
        </dgm:presLayoutVars>
      </dgm:prSet>
      <dgm:spPr/>
    </dgm:pt>
    <dgm:pt modelId="{C7153679-41C7-4AED-8B7F-1E575491F10D}" type="pres">
      <dgm:prSet presAssocID="{C7652C1E-B373-47A4-9044-1EC8C29AA3F4}" presName="sp" presStyleCnt="0"/>
      <dgm:spPr/>
    </dgm:pt>
    <dgm:pt modelId="{2519D8DB-AD34-4835-A260-219FD79AA11B}" type="pres">
      <dgm:prSet presAssocID="{5C017B2C-3345-4723-B4F9-5F0B1D7CA1FB}" presName="linNode" presStyleCnt="0"/>
      <dgm:spPr/>
    </dgm:pt>
    <dgm:pt modelId="{A7E91A73-299E-4C90-8883-28F8F8CA2E4D}" type="pres">
      <dgm:prSet presAssocID="{5C017B2C-3345-4723-B4F9-5F0B1D7CA1FB}" presName="parentText" presStyleLbl="node1" presStyleIdx="2" presStyleCnt="4">
        <dgm:presLayoutVars>
          <dgm:chMax val="1"/>
          <dgm:bulletEnabled val="1"/>
        </dgm:presLayoutVars>
      </dgm:prSet>
      <dgm:spPr/>
    </dgm:pt>
    <dgm:pt modelId="{F3B52152-8BE4-43A5-9164-5A2FE59E7C12}" type="pres">
      <dgm:prSet presAssocID="{5C017B2C-3345-4723-B4F9-5F0B1D7CA1FB}" presName="descendantText" presStyleLbl="alignAccFollowNode1" presStyleIdx="2" presStyleCnt="4">
        <dgm:presLayoutVars>
          <dgm:bulletEnabled val="1"/>
        </dgm:presLayoutVars>
      </dgm:prSet>
      <dgm:spPr/>
    </dgm:pt>
    <dgm:pt modelId="{C4A00E4F-CFF9-4D9C-B86A-C09ABB0AA6E4}" type="pres">
      <dgm:prSet presAssocID="{ED84AF96-527A-42D0-B747-8BB34E159D81}" presName="sp" presStyleCnt="0"/>
      <dgm:spPr/>
    </dgm:pt>
    <dgm:pt modelId="{CA249A53-4EA1-4211-8140-687C88995B4C}" type="pres">
      <dgm:prSet presAssocID="{E3C0883C-8CD1-460D-8627-DA1B6A435134}" presName="linNode" presStyleCnt="0"/>
      <dgm:spPr/>
    </dgm:pt>
    <dgm:pt modelId="{8E673850-EA23-40B8-AD3D-D7522D99D648}" type="pres">
      <dgm:prSet presAssocID="{E3C0883C-8CD1-460D-8627-DA1B6A435134}" presName="parentText" presStyleLbl="node1" presStyleIdx="3" presStyleCnt="4">
        <dgm:presLayoutVars>
          <dgm:chMax val="1"/>
          <dgm:bulletEnabled val="1"/>
        </dgm:presLayoutVars>
      </dgm:prSet>
      <dgm:spPr/>
    </dgm:pt>
    <dgm:pt modelId="{E703C97D-3FA6-4B02-B5DB-D8F9896B4E74}" type="pres">
      <dgm:prSet presAssocID="{E3C0883C-8CD1-460D-8627-DA1B6A435134}" presName="descendantText" presStyleLbl="alignAccFollowNode1" presStyleIdx="3" presStyleCnt="4">
        <dgm:presLayoutVars>
          <dgm:bulletEnabled val="1"/>
        </dgm:presLayoutVars>
      </dgm:prSet>
      <dgm:spPr/>
    </dgm:pt>
  </dgm:ptLst>
  <dgm:cxnLst>
    <dgm:cxn modelId="{A53F2710-05C3-444F-AB26-FF0E67A359BF}" srcId="{040668D5-D158-42FF-8A05-6227891BBE87}" destId="{AD8BC824-2AA0-4F91-80CB-239A8CAF93BB}" srcOrd="0" destOrd="0" parTransId="{85FB291B-D117-47CB-9B8C-579CED8AE15F}" sibTransId="{7BD220F5-0BB3-4479-BE90-C13A6FA69EB0}"/>
    <dgm:cxn modelId="{A5F6A512-D01E-44F7-9BFE-C8328F904F86}" srcId="{E3C0883C-8CD1-460D-8627-DA1B6A435134}" destId="{673DD419-A7BB-4D71-9B9A-74FC697ABA5A}" srcOrd="1" destOrd="0" parTransId="{F8463E4F-62FF-433C-B871-B3FBB73B71CB}" sibTransId="{5C171E2D-237C-447C-B8FE-32A672CF5DE0}"/>
    <dgm:cxn modelId="{6AC3C21B-536A-4F4F-B0DD-CAF540759127}" srcId="{16D26C6C-C57D-468F-8925-C2B31E465B5C}" destId="{E5A17D81-9425-498C-9FB2-025AA476ED25}" srcOrd="1" destOrd="0" parTransId="{0C2B6FB2-9CC1-4987-A7B3-DFC12A78C9CF}" sibTransId="{C7652C1E-B373-47A4-9044-1EC8C29AA3F4}"/>
    <dgm:cxn modelId="{2E13961E-F560-4941-9DED-BFB920874662}" srcId="{E5A17D81-9425-498C-9FB2-025AA476ED25}" destId="{5C0E84C6-F839-4E1F-9187-916E1ABE5264}" srcOrd="0" destOrd="0" parTransId="{0C799F00-D0FC-4701-B766-0DAAAEBA6B0C}" sibTransId="{C4708B52-6DB5-4643-8FE5-35D9F3ACBD20}"/>
    <dgm:cxn modelId="{6C4AF21E-B538-4723-ADB3-42820E98CE78}" type="presOf" srcId="{E5A17D81-9425-498C-9FB2-025AA476ED25}" destId="{1AF58E77-9F49-4F5F-B653-8F36EA006238}" srcOrd="0" destOrd="0" presId="urn:microsoft.com/office/officeart/2005/8/layout/vList5"/>
    <dgm:cxn modelId="{6BB1285B-7EB5-48AC-B708-F8FA6747A90C}" type="presOf" srcId="{79B18C80-4D1A-4F7F-8F7E-71691977B534}" destId="{8DD63552-03A9-4B58-92DC-A92FAE514C1F}" srcOrd="0" destOrd="1" presId="urn:microsoft.com/office/officeart/2005/8/layout/vList5"/>
    <dgm:cxn modelId="{96AAAD5C-8325-468B-A85A-D797A60B9857}" type="presOf" srcId="{16D26C6C-C57D-468F-8925-C2B31E465B5C}" destId="{E59B607E-D7E8-4303-8EC9-9BE16B4A0A1E}" srcOrd="0" destOrd="0" presId="urn:microsoft.com/office/officeart/2005/8/layout/vList5"/>
    <dgm:cxn modelId="{00423C6C-A9D4-4511-BF39-58AB2DE51DBD}" type="presOf" srcId="{5C0E84C6-F839-4E1F-9187-916E1ABE5264}" destId="{E284ED2E-BE76-443D-9061-D1D23D755A4E}" srcOrd="0" destOrd="0" presId="urn:microsoft.com/office/officeart/2005/8/layout/vList5"/>
    <dgm:cxn modelId="{E125F24F-DA59-42C9-94E3-353FF315068D}" type="presOf" srcId="{AD8BC824-2AA0-4F91-80CB-239A8CAF93BB}" destId="{8DD63552-03A9-4B58-92DC-A92FAE514C1F}" srcOrd="0" destOrd="0" presId="urn:microsoft.com/office/officeart/2005/8/layout/vList5"/>
    <dgm:cxn modelId="{FCE95653-5188-4947-A92C-6CE64C1EEB93}" type="presOf" srcId="{673DD419-A7BB-4D71-9B9A-74FC697ABA5A}" destId="{E703C97D-3FA6-4B02-B5DB-D8F9896B4E74}" srcOrd="0" destOrd="1" presId="urn:microsoft.com/office/officeart/2005/8/layout/vList5"/>
    <dgm:cxn modelId="{68C8187A-5CF6-4D8D-BF2A-0AF51A22FD8D}" srcId="{E3C0883C-8CD1-460D-8627-DA1B6A435134}" destId="{0111A9D0-4EA4-4ECB-9403-72DD89DD4BB4}" srcOrd="0" destOrd="0" parTransId="{06D76CBA-59B5-45A3-8BE7-1ECDAA24443B}" sibTransId="{D3C38AFF-AE03-42B9-A283-D01010B3D2FE}"/>
    <dgm:cxn modelId="{43E4B27B-FAA5-4C2E-B033-7C75F1744FA5}" type="presOf" srcId="{5C017B2C-3345-4723-B4F9-5F0B1D7CA1FB}" destId="{A7E91A73-299E-4C90-8883-28F8F8CA2E4D}" srcOrd="0" destOrd="0" presId="urn:microsoft.com/office/officeart/2005/8/layout/vList5"/>
    <dgm:cxn modelId="{8BB2397F-3E09-4A8B-887B-AFCC6F6D4698}" type="presOf" srcId="{040668D5-D158-42FF-8A05-6227891BBE87}" destId="{14EDB1D3-1B6D-42F3-A18A-8F1B7C1B8D4F}" srcOrd="0" destOrd="0" presId="urn:microsoft.com/office/officeart/2005/8/layout/vList5"/>
    <dgm:cxn modelId="{8B9CDD84-197B-4447-9ECB-3C60A407F1B2}" srcId="{5C017B2C-3345-4723-B4F9-5F0B1D7CA1FB}" destId="{FA408BAE-16AC-4206-A1BB-BEFCAE9D0CD5}" srcOrd="0" destOrd="0" parTransId="{C2446EEB-09C8-42F9-9B81-6B6250EB3AEA}" sibTransId="{F7599045-B043-494B-B6ED-68D007A7E0F0}"/>
    <dgm:cxn modelId="{785C1D89-F8E6-4693-AEFA-3EDA38EE5991}" srcId="{040668D5-D158-42FF-8A05-6227891BBE87}" destId="{79B18C80-4D1A-4F7F-8F7E-71691977B534}" srcOrd="1" destOrd="0" parTransId="{E6DA37E3-A4F4-4E7A-B736-AC0F6CBDEBE3}" sibTransId="{21DCECC8-64BB-4F47-AE62-99D8EBA57685}"/>
    <dgm:cxn modelId="{E56DBB8E-A9CB-4E7E-BFD3-936E040F143A}" srcId="{16D26C6C-C57D-468F-8925-C2B31E465B5C}" destId="{E3C0883C-8CD1-460D-8627-DA1B6A435134}" srcOrd="3" destOrd="0" parTransId="{3B252554-04DB-4309-9FE1-5B6F070D6B27}" sibTransId="{BCCD7F17-65CD-4833-BE67-37BAFEAB7EFD}"/>
    <dgm:cxn modelId="{FCB9B3B1-142F-441B-B7B6-0AB40CA35E46}" type="presOf" srcId="{0111A9D0-4EA4-4ECB-9403-72DD89DD4BB4}" destId="{E703C97D-3FA6-4B02-B5DB-D8F9896B4E74}" srcOrd="0" destOrd="0" presId="urn:microsoft.com/office/officeart/2005/8/layout/vList5"/>
    <dgm:cxn modelId="{7460ECB6-9A21-4101-BF24-B314131B5DCB}" type="presOf" srcId="{14424429-C457-44B9-A919-74844DB70ACC}" destId="{F3B52152-8BE4-43A5-9164-5A2FE59E7C12}" srcOrd="0" destOrd="1" presId="urn:microsoft.com/office/officeart/2005/8/layout/vList5"/>
    <dgm:cxn modelId="{2FA659BB-1F43-481B-BC76-72D5A1836757}" type="presOf" srcId="{FA408BAE-16AC-4206-A1BB-BEFCAE9D0CD5}" destId="{F3B52152-8BE4-43A5-9164-5A2FE59E7C12}" srcOrd="0" destOrd="0" presId="urn:microsoft.com/office/officeart/2005/8/layout/vList5"/>
    <dgm:cxn modelId="{D2C2CFC7-3B44-4301-A91F-B1EF04BD3849}" type="presOf" srcId="{E3C0883C-8CD1-460D-8627-DA1B6A435134}" destId="{8E673850-EA23-40B8-AD3D-D7522D99D648}" srcOrd="0" destOrd="0" presId="urn:microsoft.com/office/officeart/2005/8/layout/vList5"/>
    <dgm:cxn modelId="{12B0A7D0-2230-4DE8-BFD5-AB625A0EA742}" type="presOf" srcId="{C4BEF1E5-5BCB-4C18-89DF-52CDE2A40D33}" destId="{8DD63552-03A9-4B58-92DC-A92FAE514C1F}" srcOrd="0" destOrd="2" presId="urn:microsoft.com/office/officeart/2005/8/layout/vList5"/>
    <dgm:cxn modelId="{518EF2D5-316A-46E4-8AD5-26F9CD3054D6}" srcId="{040668D5-D158-42FF-8A05-6227891BBE87}" destId="{C4BEF1E5-5BCB-4C18-89DF-52CDE2A40D33}" srcOrd="2" destOrd="0" parTransId="{8D33063C-2528-4272-BFBD-829C90A457B8}" sibTransId="{46CC95F0-7DC3-40B7-9B4D-FA871A78508D}"/>
    <dgm:cxn modelId="{1F76C0EF-A5A3-4671-9EAE-2F267ACDC4B1}" srcId="{5C017B2C-3345-4723-B4F9-5F0B1D7CA1FB}" destId="{14424429-C457-44B9-A919-74844DB70ACC}" srcOrd="1" destOrd="0" parTransId="{24F7A5B3-FA70-4858-AD29-AE3AC1942895}" sibTransId="{83F07B63-2711-474F-A878-5EF6ACA57965}"/>
    <dgm:cxn modelId="{617DFBF6-C75D-427B-A0E9-C0BB50B1BD55}" srcId="{16D26C6C-C57D-468F-8925-C2B31E465B5C}" destId="{040668D5-D158-42FF-8A05-6227891BBE87}" srcOrd="0" destOrd="0" parTransId="{3443D885-0BFF-4F5C-96E8-018D10A3184F}" sibTransId="{E30C5A61-97E7-43D2-8049-4E7D0380921E}"/>
    <dgm:cxn modelId="{4AB556FC-B5D4-4F79-8861-D7E894F66883}" srcId="{16D26C6C-C57D-468F-8925-C2B31E465B5C}" destId="{5C017B2C-3345-4723-B4F9-5F0B1D7CA1FB}" srcOrd="2" destOrd="0" parTransId="{B33C3E50-F690-4BED-A482-DE2206ED393C}" sibTransId="{ED84AF96-527A-42D0-B747-8BB34E159D81}"/>
    <dgm:cxn modelId="{B7852442-0313-4CB2-AE35-BE1201A2320C}" type="presParOf" srcId="{E59B607E-D7E8-4303-8EC9-9BE16B4A0A1E}" destId="{19E50DBC-E898-45D6-8AF0-A89C3ED2EAF7}" srcOrd="0" destOrd="0" presId="urn:microsoft.com/office/officeart/2005/8/layout/vList5"/>
    <dgm:cxn modelId="{B6A1C45B-0939-4C1F-A212-C6226C7FF42B}" type="presParOf" srcId="{19E50DBC-E898-45D6-8AF0-A89C3ED2EAF7}" destId="{14EDB1D3-1B6D-42F3-A18A-8F1B7C1B8D4F}" srcOrd="0" destOrd="0" presId="urn:microsoft.com/office/officeart/2005/8/layout/vList5"/>
    <dgm:cxn modelId="{AA0A9906-CA03-4A83-A98C-9EF9814EAA01}" type="presParOf" srcId="{19E50DBC-E898-45D6-8AF0-A89C3ED2EAF7}" destId="{8DD63552-03A9-4B58-92DC-A92FAE514C1F}" srcOrd="1" destOrd="0" presId="urn:microsoft.com/office/officeart/2005/8/layout/vList5"/>
    <dgm:cxn modelId="{404EA238-BC15-410C-97B2-4EC9CF01E4FA}" type="presParOf" srcId="{E59B607E-D7E8-4303-8EC9-9BE16B4A0A1E}" destId="{6DB81156-D2DD-4966-B9F5-536303F40B39}" srcOrd="1" destOrd="0" presId="urn:microsoft.com/office/officeart/2005/8/layout/vList5"/>
    <dgm:cxn modelId="{9C6600E3-44BD-4959-B8FD-E4BED3627733}" type="presParOf" srcId="{E59B607E-D7E8-4303-8EC9-9BE16B4A0A1E}" destId="{E06E13B5-21BA-4EB4-B5B4-A785370EB763}" srcOrd="2" destOrd="0" presId="urn:microsoft.com/office/officeart/2005/8/layout/vList5"/>
    <dgm:cxn modelId="{836081B2-5C14-4017-B02B-881594487C2D}" type="presParOf" srcId="{E06E13B5-21BA-4EB4-B5B4-A785370EB763}" destId="{1AF58E77-9F49-4F5F-B653-8F36EA006238}" srcOrd="0" destOrd="0" presId="urn:microsoft.com/office/officeart/2005/8/layout/vList5"/>
    <dgm:cxn modelId="{30BB054D-07C9-40FE-A6EF-48813886470F}" type="presParOf" srcId="{E06E13B5-21BA-4EB4-B5B4-A785370EB763}" destId="{E284ED2E-BE76-443D-9061-D1D23D755A4E}" srcOrd="1" destOrd="0" presId="urn:microsoft.com/office/officeart/2005/8/layout/vList5"/>
    <dgm:cxn modelId="{83B24B92-E283-420D-B185-3C4000AD1754}" type="presParOf" srcId="{E59B607E-D7E8-4303-8EC9-9BE16B4A0A1E}" destId="{C7153679-41C7-4AED-8B7F-1E575491F10D}" srcOrd="3" destOrd="0" presId="urn:microsoft.com/office/officeart/2005/8/layout/vList5"/>
    <dgm:cxn modelId="{30B051C2-CEC7-4CDB-B28C-87BC28F9E7A5}" type="presParOf" srcId="{E59B607E-D7E8-4303-8EC9-9BE16B4A0A1E}" destId="{2519D8DB-AD34-4835-A260-219FD79AA11B}" srcOrd="4" destOrd="0" presId="urn:microsoft.com/office/officeart/2005/8/layout/vList5"/>
    <dgm:cxn modelId="{B8B4648D-FAF3-4A56-A4C0-07CF9C956730}" type="presParOf" srcId="{2519D8DB-AD34-4835-A260-219FD79AA11B}" destId="{A7E91A73-299E-4C90-8883-28F8F8CA2E4D}" srcOrd="0" destOrd="0" presId="urn:microsoft.com/office/officeart/2005/8/layout/vList5"/>
    <dgm:cxn modelId="{297D8AF2-3F16-4B85-9BAF-8552F3DAE1E2}" type="presParOf" srcId="{2519D8DB-AD34-4835-A260-219FD79AA11B}" destId="{F3B52152-8BE4-43A5-9164-5A2FE59E7C12}" srcOrd="1" destOrd="0" presId="urn:microsoft.com/office/officeart/2005/8/layout/vList5"/>
    <dgm:cxn modelId="{BC50C131-E19F-4E1D-8532-A67354D9290B}" type="presParOf" srcId="{E59B607E-D7E8-4303-8EC9-9BE16B4A0A1E}" destId="{C4A00E4F-CFF9-4D9C-B86A-C09ABB0AA6E4}" srcOrd="5" destOrd="0" presId="urn:microsoft.com/office/officeart/2005/8/layout/vList5"/>
    <dgm:cxn modelId="{81A25B00-791B-41F4-8939-BDDA7D5D6569}" type="presParOf" srcId="{E59B607E-D7E8-4303-8EC9-9BE16B4A0A1E}" destId="{CA249A53-4EA1-4211-8140-687C88995B4C}" srcOrd="6" destOrd="0" presId="urn:microsoft.com/office/officeart/2005/8/layout/vList5"/>
    <dgm:cxn modelId="{67BBB184-2140-4B53-9F51-15AD7E9050E0}" type="presParOf" srcId="{CA249A53-4EA1-4211-8140-687C88995B4C}" destId="{8E673850-EA23-40B8-AD3D-D7522D99D648}" srcOrd="0" destOrd="0" presId="urn:microsoft.com/office/officeart/2005/8/layout/vList5"/>
    <dgm:cxn modelId="{FD9CE2E6-9AEE-4CAC-96D6-556074B4A406}" type="presParOf" srcId="{CA249A53-4EA1-4211-8140-687C88995B4C}" destId="{E703C97D-3FA6-4B02-B5DB-D8F9896B4E74}"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6040105-1E92-4AB6-BB5C-3C4E7EC36311}"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0F464C63-4435-4BD9-8BC4-6FF8EE571A22}">
      <dgm:prSet phldrT="[Text]" custT="1"/>
      <dgm:spPr/>
      <dgm:t>
        <a:bodyPr/>
        <a:lstStyle/>
        <a:p>
          <a:r>
            <a:rPr lang="en-US" sz="2400"/>
            <a:t>Stores 8 kilobytes (KB) pages of data to avoid repeated disk I/O.</a:t>
          </a:r>
          <a:endParaRPr lang="en-US" sz="2400" dirty="0"/>
        </a:p>
      </dgm:t>
    </dgm:pt>
    <dgm:pt modelId="{19308289-4E4E-4B5B-95A8-8C099CE2E876}" type="parTrans" cxnId="{BF640412-4851-42E3-96FC-D39337C2D935}">
      <dgm:prSet/>
      <dgm:spPr/>
      <dgm:t>
        <a:bodyPr/>
        <a:lstStyle/>
        <a:p>
          <a:endParaRPr lang="en-US"/>
        </a:p>
      </dgm:t>
    </dgm:pt>
    <dgm:pt modelId="{EE731859-F98E-4AC0-B65B-10DAAE071F54}" type="sibTrans" cxnId="{BF640412-4851-42E3-96FC-D39337C2D935}">
      <dgm:prSet/>
      <dgm:spPr/>
      <dgm:t>
        <a:bodyPr/>
        <a:lstStyle/>
        <a:p>
          <a:endParaRPr lang="en-US"/>
        </a:p>
      </dgm:t>
    </dgm:pt>
    <dgm:pt modelId="{67E17738-299F-4FD5-83A3-C7B1C8E6B2C5}">
      <dgm:prSet phldrT="[Text]" custT="1"/>
      <dgm:spPr/>
      <dgm:t>
        <a:bodyPr/>
        <a:lstStyle/>
        <a:p>
          <a:r>
            <a:rPr lang="en-US" sz="2400" dirty="0"/>
            <a:t>Pages held in the buffer until the space is needed by something else.</a:t>
          </a:r>
        </a:p>
      </dgm:t>
    </dgm:pt>
    <dgm:pt modelId="{99E992C1-87A1-463C-8807-ECFE2ADA73FF}" type="parTrans" cxnId="{4B0CA908-C5A1-4896-9A5B-F679016F67D6}">
      <dgm:prSet/>
      <dgm:spPr/>
      <dgm:t>
        <a:bodyPr/>
        <a:lstStyle/>
        <a:p>
          <a:endParaRPr lang="en-US"/>
        </a:p>
      </dgm:t>
    </dgm:pt>
    <dgm:pt modelId="{AAA0D5D7-8ED2-4B87-ADB1-D44B93C98229}" type="sibTrans" cxnId="{4B0CA908-C5A1-4896-9A5B-F679016F67D6}">
      <dgm:prSet/>
      <dgm:spPr/>
      <dgm:t>
        <a:bodyPr/>
        <a:lstStyle/>
        <a:p>
          <a:endParaRPr lang="en-US"/>
        </a:p>
      </dgm:t>
    </dgm:pt>
    <dgm:pt modelId="{AADD6B1B-92A4-446B-84B1-B0C734E955D2}">
      <dgm:prSet phldrT="[Text]" custT="1"/>
      <dgm:spPr/>
      <dgm:t>
        <a:bodyPr/>
        <a:lstStyle/>
        <a:p>
          <a:r>
            <a:rPr lang="en-US" sz="2400"/>
            <a:t>Largest percentage of SQL Server memory.</a:t>
          </a:r>
          <a:endParaRPr lang="en-US" sz="2400" dirty="0"/>
        </a:p>
      </dgm:t>
    </dgm:pt>
    <dgm:pt modelId="{18E0E943-6484-4C97-842A-8A16F82E89C8}" type="parTrans" cxnId="{17EC358D-B099-4CEE-B916-679D6CDEC914}">
      <dgm:prSet/>
      <dgm:spPr/>
      <dgm:t>
        <a:bodyPr/>
        <a:lstStyle/>
        <a:p>
          <a:endParaRPr lang="en-US"/>
        </a:p>
      </dgm:t>
    </dgm:pt>
    <dgm:pt modelId="{CB03AA14-A9EF-4741-A0B4-CB24A730B870}" type="sibTrans" cxnId="{17EC358D-B099-4CEE-B916-679D6CDEC914}">
      <dgm:prSet/>
      <dgm:spPr/>
      <dgm:t>
        <a:bodyPr/>
        <a:lstStyle/>
        <a:p>
          <a:endParaRPr lang="en-US"/>
        </a:p>
      </dgm:t>
    </dgm:pt>
    <dgm:pt modelId="{F96BD1CD-A516-4C87-A961-EF4E45DAE639}">
      <dgm:prSet phldrT="[Text]" custT="1"/>
      <dgm:spPr/>
      <dgm:t>
        <a:bodyPr/>
        <a:lstStyle/>
        <a:p>
          <a:r>
            <a:rPr lang="en-US" sz="2400"/>
            <a:t>Separate buffer pool nodes for each hardware NUMA node.</a:t>
          </a:r>
          <a:endParaRPr lang="en-US" sz="2400" dirty="0"/>
        </a:p>
      </dgm:t>
    </dgm:pt>
    <dgm:pt modelId="{0E32A75C-A249-43AB-8AF3-5FB533E591C9}" type="parTrans" cxnId="{A391CB16-A64C-439A-80E6-13E3800832DF}">
      <dgm:prSet/>
      <dgm:spPr/>
      <dgm:t>
        <a:bodyPr/>
        <a:lstStyle/>
        <a:p>
          <a:endParaRPr lang="en-US"/>
        </a:p>
      </dgm:t>
    </dgm:pt>
    <dgm:pt modelId="{0BF20044-B1B3-4DB0-A7AB-5C40649EE601}" type="sibTrans" cxnId="{A391CB16-A64C-439A-80E6-13E3800832DF}">
      <dgm:prSet/>
      <dgm:spPr/>
      <dgm:t>
        <a:bodyPr/>
        <a:lstStyle/>
        <a:p>
          <a:endParaRPr lang="en-US"/>
        </a:p>
      </dgm:t>
    </dgm:pt>
    <dgm:pt modelId="{DDF3A48C-9044-4623-9CDC-0F23F895C60C}" type="pres">
      <dgm:prSet presAssocID="{56040105-1E92-4AB6-BB5C-3C4E7EC36311}" presName="linear" presStyleCnt="0">
        <dgm:presLayoutVars>
          <dgm:animLvl val="lvl"/>
          <dgm:resizeHandles val="exact"/>
        </dgm:presLayoutVars>
      </dgm:prSet>
      <dgm:spPr/>
    </dgm:pt>
    <dgm:pt modelId="{AAE66C88-09DA-40B7-823E-7E7CC6D7DE8E}" type="pres">
      <dgm:prSet presAssocID="{0F464C63-4435-4BD9-8BC4-6FF8EE571A22}" presName="parentText" presStyleLbl="node1" presStyleIdx="0" presStyleCnt="2">
        <dgm:presLayoutVars>
          <dgm:chMax val="0"/>
          <dgm:bulletEnabled val="1"/>
        </dgm:presLayoutVars>
      </dgm:prSet>
      <dgm:spPr/>
    </dgm:pt>
    <dgm:pt modelId="{243A05DC-3C79-4F85-8091-E770D7B8BE1C}" type="pres">
      <dgm:prSet presAssocID="{0F464C63-4435-4BD9-8BC4-6FF8EE571A22}" presName="childText" presStyleLbl="revTx" presStyleIdx="0" presStyleCnt="2">
        <dgm:presLayoutVars>
          <dgm:bulletEnabled val="1"/>
        </dgm:presLayoutVars>
      </dgm:prSet>
      <dgm:spPr/>
    </dgm:pt>
    <dgm:pt modelId="{8A8E48AC-E044-4373-91C2-A5EBBB4E8D5D}" type="pres">
      <dgm:prSet presAssocID="{AADD6B1B-92A4-446B-84B1-B0C734E955D2}" presName="parentText" presStyleLbl="node1" presStyleIdx="1" presStyleCnt="2">
        <dgm:presLayoutVars>
          <dgm:chMax val="0"/>
          <dgm:bulletEnabled val="1"/>
        </dgm:presLayoutVars>
      </dgm:prSet>
      <dgm:spPr/>
    </dgm:pt>
    <dgm:pt modelId="{D9796843-2685-4002-815D-6B4869E1BB94}" type="pres">
      <dgm:prSet presAssocID="{AADD6B1B-92A4-446B-84B1-B0C734E955D2}" presName="childText" presStyleLbl="revTx" presStyleIdx="1" presStyleCnt="2">
        <dgm:presLayoutVars>
          <dgm:bulletEnabled val="1"/>
        </dgm:presLayoutVars>
      </dgm:prSet>
      <dgm:spPr/>
    </dgm:pt>
  </dgm:ptLst>
  <dgm:cxnLst>
    <dgm:cxn modelId="{4B0CA908-C5A1-4896-9A5B-F679016F67D6}" srcId="{0F464C63-4435-4BD9-8BC4-6FF8EE571A22}" destId="{67E17738-299F-4FD5-83A3-C7B1C8E6B2C5}" srcOrd="0" destOrd="0" parTransId="{99E992C1-87A1-463C-8807-ECFE2ADA73FF}" sibTransId="{AAA0D5D7-8ED2-4B87-ADB1-D44B93C98229}"/>
    <dgm:cxn modelId="{BF640412-4851-42E3-96FC-D39337C2D935}" srcId="{56040105-1E92-4AB6-BB5C-3C4E7EC36311}" destId="{0F464C63-4435-4BD9-8BC4-6FF8EE571A22}" srcOrd="0" destOrd="0" parTransId="{19308289-4E4E-4B5B-95A8-8C099CE2E876}" sibTransId="{EE731859-F98E-4AC0-B65B-10DAAE071F54}"/>
    <dgm:cxn modelId="{A391CB16-A64C-439A-80E6-13E3800832DF}" srcId="{AADD6B1B-92A4-446B-84B1-B0C734E955D2}" destId="{F96BD1CD-A516-4C87-A961-EF4E45DAE639}" srcOrd="0" destOrd="0" parTransId="{0E32A75C-A249-43AB-8AF3-5FB533E591C9}" sibTransId="{0BF20044-B1B3-4DB0-A7AB-5C40649EE601}"/>
    <dgm:cxn modelId="{3DC8395B-D9FB-4DD2-8F77-7A889AF4AADF}" type="presOf" srcId="{67E17738-299F-4FD5-83A3-C7B1C8E6B2C5}" destId="{243A05DC-3C79-4F85-8091-E770D7B8BE1C}" srcOrd="0" destOrd="0" presId="urn:microsoft.com/office/officeart/2005/8/layout/vList2"/>
    <dgm:cxn modelId="{17EC358D-B099-4CEE-B916-679D6CDEC914}" srcId="{56040105-1E92-4AB6-BB5C-3C4E7EC36311}" destId="{AADD6B1B-92A4-446B-84B1-B0C734E955D2}" srcOrd="1" destOrd="0" parTransId="{18E0E943-6484-4C97-842A-8A16F82E89C8}" sibTransId="{CB03AA14-A9EF-4741-A0B4-CB24A730B870}"/>
    <dgm:cxn modelId="{EBE5D091-8C65-4C2F-B304-B55C9A6948DA}" type="presOf" srcId="{F96BD1CD-A516-4C87-A961-EF4E45DAE639}" destId="{D9796843-2685-4002-815D-6B4869E1BB94}" srcOrd="0" destOrd="0" presId="urn:microsoft.com/office/officeart/2005/8/layout/vList2"/>
    <dgm:cxn modelId="{9B26F8A3-336E-43D5-BD5E-17BCDEFF4B4A}" type="presOf" srcId="{AADD6B1B-92A4-446B-84B1-B0C734E955D2}" destId="{8A8E48AC-E044-4373-91C2-A5EBBB4E8D5D}" srcOrd="0" destOrd="0" presId="urn:microsoft.com/office/officeart/2005/8/layout/vList2"/>
    <dgm:cxn modelId="{22696FEC-5C34-482A-A30B-04FE55D86FF2}" type="presOf" srcId="{56040105-1E92-4AB6-BB5C-3C4E7EC36311}" destId="{DDF3A48C-9044-4623-9CDC-0F23F895C60C}" srcOrd="0" destOrd="0" presId="urn:microsoft.com/office/officeart/2005/8/layout/vList2"/>
    <dgm:cxn modelId="{29559FF1-6A81-4F72-8B56-D683DE35F12B}" type="presOf" srcId="{0F464C63-4435-4BD9-8BC4-6FF8EE571A22}" destId="{AAE66C88-09DA-40B7-823E-7E7CC6D7DE8E}" srcOrd="0" destOrd="0" presId="urn:microsoft.com/office/officeart/2005/8/layout/vList2"/>
    <dgm:cxn modelId="{81ED60A1-122F-4799-8791-37E21D06D28B}" type="presParOf" srcId="{DDF3A48C-9044-4623-9CDC-0F23F895C60C}" destId="{AAE66C88-09DA-40B7-823E-7E7CC6D7DE8E}" srcOrd="0" destOrd="0" presId="urn:microsoft.com/office/officeart/2005/8/layout/vList2"/>
    <dgm:cxn modelId="{EDDF6EA8-1AB5-4B4D-BFDE-33F5358383A4}" type="presParOf" srcId="{DDF3A48C-9044-4623-9CDC-0F23F895C60C}" destId="{243A05DC-3C79-4F85-8091-E770D7B8BE1C}" srcOrd="1" destOrd="0" presId="urn:microsoft.com/office/officeart/2005/8/layout/vList2"/>
    <dgm:cxn modelId="{C56A4E03-EA3D-4993-A3FD-11E2CCD2A4D2}" type="presParOf" srcId="{DDF3A48C-9044-4623-9CDC-0F23F895C60C}" destId="{8A8E48AC-E044-4373-91C2-A5EBBB4E8D5D}" srcOrd="2" destOrd="0" presId="urn:microsoft.com/office/officeart/2005/8/layout/vList2"/>
    <dgm:cxn modelId="{FE80356A-B135-4155-8341-301CCF192171}" type="presParOf" srcId="{DDF3A48C-9044-4623-9CDC-0F23F895C60C}" destId="{D9796843-2685-4002-815D-6B4869E1BB94}"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85ACFC6-8997-4D73-8588-954AAB687C59}"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36C25181-4621-403F-8404-39C856259F9E}">
      <dgm:prSet/>
      <dgm:spPr/>
      <dgm:t>
        <a:bodyPr/>
        <a:lstStyle/>
        <a:p>
          <a:r>
            <a:rPr lang="en-US" dirty="0"/>
            <a:t>Special operating system API for memory allocations.</a:t>
          </a:r>
        </a:p>
      </dgm:t>
    </dgm:pt>
    <dgm:pt modelId="{94960298-99AF-443D-BD54-C741D44EC8E7}" type="parTrans" cxnId="{E6C80F40-A641-4B6F-A719-65F1EC8076F5}">
      <dgm:prSet/>
      <dgm:spPr/>
      <dgm:t>
        <a:bodyPr/>
        <a:lstStyle/>
        <a:p>
          <a:endParaRPr lang="en-US"/>
        </a:p>
      </dgm:t>
    </dgm:pt>
    <dgm:pt modelId="{991DDB91-7E60-4818-8D56-FAA0B71CF77D}" type="sibTrans" cxnId="{E6C80F40-A641-4B6F-A719-65F1EC8076F5}">
      <dgm:prSet/>
      <dgm:spPr/>
      <dgm:t>
        <a:bodyPr/>
        <a:lstStyle/>
        <a:p>
          <a:endParaRPr lang="en-US"/>
        </a:p>
      </dgm:t>
    </dgm:pt>
    <dgm:pt modelId="{257A1271-9A26-472D-B17F-0A72B8710688}">
      <dgm:prSet/>
      <dgm:spPr/>
      <dgm:t>
        <a:bodyPr/>
        <a:lstStyle/>
        <a:p>
          <a:r>
            <a:rPr lang="en-US" dirty="0"/>
            <a:t>Memory allocated through this API cannot be paged out by the operating system.</a:t>
          </a:r>
        </a:p>
      </dgm:t>
    </dgm:pt>
    <dgm:pt modelId="{8B8199DE-C43B-4293-8721-CBA416A1917F}" type="parTrans" cxnId="{77115205-DDC4-4232-AA23-0A7B6AD48539}">
      <dgm:prSet/>
      <dgm:spPr/>
      <dgm:t>
        <a:bodyPr/>
        <a:lstStyle/>
        <a:p>
          <a:endParaRPr lang="en-US"/>
        </a:p>
      </dgm:t>
    </dgm:pt>
    <dgm:pt modelId="{000EE345-5906-4028-8949-2251995F0E04}" type="sibTrans" cxnId="{77115205-DDC4-4232-AA23-0A7B6AD48539}">
      <dgm:prSet/>
      <dgm:spPr/>
      <dgm:t>
        <a:bodyPr/>
        <a:lstStyle/>
        <a:p>
          <a:endParaRPr lang="en-US"/>
        </a:p>
      </dgm:t>
    </dgm:pt>
    <dgm:pt modelId="{8AC05E34-2108-4B5D-B1C5-710A3E8220EE}">
      <dgm:prSet/>
      <dgm:spPr/>
      <dgm:t>
        <a:bodyPr/>
        <a:lstStyle/>
        <a:p>
          <a:r>
            <a:rPr lang="en-US" dirty="0"/>
            <a:t>Needed to support large page allocations.</a:t>
          </a:r>
        </a:p>
      </dgm:t>
    </dgm:pt>
    <dgm:pt modelId="{6D3775E9-9AE0-4DE8-B566-446AC16BA10E}" type="parTrans" cxnId="{1C515120-EB16-4CE5-9836-F23BC2085608}">
      <dgm:prSet/>
      <dgm:spPr/>
      <dgm:t>
        <a:bodyPr/>
        <a:lstStyle/>
        <a:p>
          <a:endParaRPr lang="en-US"/>
        </a:p>
      </dgm:t>
    </dgm:pt>
    <dgm:pt modelId="{87E88C61-F459-4A17-B4B4-8869866B8814}" type="sibTrans" cxnId="{1C515120-EB16-4CE5-9836-F23BC2085608}">
      <dgm:prSet/>
      <dgm:spPr/>
      <dgm:t>
        <a:bodyPr/>
        <a:lstStyle/>
        <a:p>
          <a:endParaRPr lang="en-US"/>
        </a:p>
      </dgm:t>
    </dgm:pt>
    <dgm:pt modelId="{B704DBA1-7265-4D5A-A2F2-61D691B8430E}">
      <dgm:prSet/>
      <dgm:spPr/>
      <dgm:t>
        <a:bodyPr/>
        <a:lstStyle/>
        <a:p>
          <a:r>
            <a:rPr lang="en-US" dirty="0"/>
            <a:t>Configured by granting the Lock pages in memory security privilege to the SQL Server service account.</a:t>
          </a:r>
        </a:p>
      </dgm:t>
    </dgm:pt>
    <dgm:pt modelId="{B216DC0A-50FE-4F82-A3C7-3254C66ACF35}" type="parTrans" cxnId="{9ABC9A9E-8DD0-4E51-A3AA-58C821AEDD87}">
      <dgm:prSet/>
      <dgm:spPr/>
      <dgm:t>
        <a:bodyPr/>
        <a:lstStyle/>
        <a:p>
          <a:endParaRPr lang="en-US"/>
        </a:p>
      </dgm:t>
    </dgm:pt>
    <dgm:pt modelId="{583D68BD-5A8C-4C9A-96AF-F2C3CBECCCF9}" type="sibTrans" cxnId="{9ABC9A9E-8DD0-4E51-A3AA-58C821AEDD87}">
      <dgm:prSet/>
      <dgm:spPr/>
      <dgm:t>
        <a:bodyPr/>
        <a:lstStyle/>
        <a:p>
          <a:endParaRPr lang="en-US"/>
        </a:p>
      </dgm:t>
    </dgm:pt>
    <dgm:pt modelId="{784CEED2-95FB-442F-986E-E07DC80C34DA}" type="pres">
      <dgm:prSet presAssocID="{785ACFC6-8997-4D73-8588-954AAB687C59}" presName="linear" presStyleCnt="0">
        <dgm:presLayoutVars>
          <dgm:animLvl val="lvl"/>
          <dgm:resizeHandles val="exact"/>
        </dgm:presLayoutVars>
      </dgm:prSet>
      <dgm:spPr/>
    </dgm:pt>
    <dgm:pt modelId="{22915D99-4758-4B3D-BF70-BF0C0FC6135B}" type="pres">
      <dgm:prSet presAssocID="{36C25181-4621-403F-8404-39C856259F9E}" presName="parentText" presStyleLbl="node1" presStyleIdx="0" presStyleCnt="4">
        <dgm:presLayoutVars>
          <dgm:chMax val="0"/>
          <dgm:bulletEnabled val="1"/>
        </dgm:presLayoutVars>
      </dgm:prSet>
      <dgm:spPr/>
    </dgm:pt>
    <dgm:pt modelId="{9045E6AF-603F-4448-8060-C62ECC3E2023}" type="pres">
      <dgm:prSet presAssocID="{991DDB91-7E60-4818-8D56-FAA0B71CF77D}" presName="spacer" presStyleCnt="0"/>
      <dgm:spPr/>
    </dgm:pt>
    <dgm:pt modelId="{C51605AB-9B12-4028-A5CA-99A11C95E18C}" type="pres">
      <dgm:prSet presAssocID="{257A1271-9A26-472D-B17F-0A72B8710688}" presName="parentText" presStyleLbl="node1" presStyleIdx="1" presStyleCnt="4">
        <dgm:presLayoutVars>
          <dgm:chMax val="0"/>
          <dgm:bulletEnabled val="1"/>
        </dgm:presLayoutVars>
      </dgm:prSet>
      <dgm:spPr/>
    </dgm:pt>
    <dgm:pt modelId="{9D48B3E5-8000-484D-83D8-8EE6E200CACD}" type="pres">
      <dgm:prSet presAssocID="{000EE345-5906-4028-8949-2251995F0E04}" presName="spacer" presStyleCnt="0"/>
      <dgm:spPr/>
    </dgm:pt>
    <dgm:pt modelId="{F315E720-37D8-4FD8-A6AC-3EA668E5D438}" type="pres">
      <dgm:prSet presAssocID="{8AC05E34-2108-4B5D-B1C5-710A3E8220EE}" presName="parentText" presStyleLbl="node1" presStyleIdx="2" presStyleCnt="4">
        <dgm:presLayoutVars>
          <dgm:chMax val="0"/>
          <dgm:bulletEnabled val="1"/>
        </dgm:presLayoutVars>
      </dgm:prSet>
      <dgm:spPr/>
    </dgm:pt>
    <dgm:pt modelId="{C6C9E903-27A9-4B93-9FC9-78B547E08511}" type="pres">
      <dgm:prSet presAssocID="{87E88C61-F459-4A17-B4B4-8869866B8814}" presName="spacer" presStyleCnt="0"/>
      <dgm:spPr/>
    </dgm:pt>
    <dgm:pt modelId="{399ABE52-E096-45F6-AE6C-89F435566BCB}" type="pres">
      <dgm:prSet presAssocID="{B704DBA1-7265-4D5A-A2F2-61D691B8430E}" presName="parentText" presStyleLbl="node1" presStyleIdx="3" presStyleCnt="4">
        <dgm:presLayoutVars>
          <dgm:chMax val="0"/>
          <dgm:bulletEnabled val="1"/>
        </dgm:presLayoutVars>
      </dgm:prSet>
      <dgm:spPr/>
    </dgm:pt>
  </dgm:ptLst>
  <dgm:cxnLst>
    <dgm:cxn modelId="{77115205-DDC4-4232-AA23-0A7B6AD48539}" srcId="{785ACFC6-8997-4D73-8588-954AAB687C59}" destId="{257A1271-9A26-472D-B17F-0A72B8710688}" srcOrd="1" destOrd="0" parTransId="{8B8199DE-C43B-4293-8721-CBA416A1917F}" sibTransId="{000EE345-5906-4028-8949-2251995F0E04}"/>
    <dgm:cxn modelId="{1C515120-EB16-4CE5-9836-F23BC2085608}" srcId="{785ACFC6-8997-4D73-8588-954AAB687C59}" destId="{8AC05E34-2108-4B5D-B1C5-710A3E8220EE}" srcOrd="2" destOrd="0" parTransId="{6D3775E9-9AE0-4DE8-B566-446AC16BA10E}" sibTransId="{87E88C61-F459-4A17-B4B4-8869866B8814}"/>
    <dgm:cxn modelId="{E4A02337-F92A-4682-9AD0-4A8D066AA0CA}" type="presOf" srcId="{36C25181-4621-403F-8404-39C856259F9E}" destId="{22915D99-4758-4B3D-BF70-BF0C0FC6135B}" srcOrd="0" destOrd="0" presId="urn:microsoft.com/office/officeart/2005/8/layout/vList2"/>
    <dgm:cxn modelId="{E6C80F40-A641-4B6F-A719-65F1EC8076F5}" srcId="{785ACFC6-8997-4D73-8588-954AAB687C59}" destId="{36C25181-4621-403F-8404-39C856259F9E}" srcOrd="0" destOrd="0" parTransId="{94960298-99AF-443D-BD54-C741D44EC8E7}" sibTransId="{991DDB91-7E60-4818-8D56-FAA0B71CF77D}"/>
    <dgm:cxn modelId="{99BE0A51-6FB5-4EC5-9BDC-C315D3FBB0C2}" type="presOf" srcId="{785ACFC6-8997-4D73-8588-954AAB687C59}" destId="{784CEED2-95FB-442F-986E-E07DC80C34DA}" srcOrd="0" destOrd="0" presId="urn:microsoft.com/office/officeart/2005/8/layout/vList2"/>
    <dgm:cxn modelId="{48B1C579-5E3B-405F-A1A0-8477784C1971}" type="presOf" srcId="{257A1271-9A26-472D-B17F-0A72B8710688}" destId="{C51605AB-9B12-4028-A5CA-99A11C95E18C}" srcOrd="0" destOrd="0" presId="urn:microsoft.com/office/officeart/2005/8/layout/vList2"/>
    <dgm:cxn modelId="{9E2D289C-14B3-4362-8192-9AF4F75A14C0}" type="presOf" srcId="{B704DBA1-7265-4D5A-A2F2-61D691B8430E}" destId="{399ABE52-E096-45F6-AE6C-89F435566BCB}" srcOrd="0" destOrd="0" presId="urn:microsoft.com/office/officeart/2005/8/layout/vList2"/>
    <dgm:cxn modelId="{9ABC9A9E-8DD0-4E51-A3AA-58C821AEDD87}" srcId="{785ACFC6-8997-4D73-8588-954AAB687C59}" destId="{B704DBA1-7265-4D5A-A2F2-61D691B8430E}" srcOrd="3" destOrd="0" parTransId="{B216DC0A-50FE-4F82-A3C7-3254C66ACF35}" sibTransId="{583D68BD-5A8C-4C9A-96AF-F2C3CBECCCF9}"/>
    <dgm:cxn modelId="{BD2D67F1-8CCF-45E8-A0CE-223DA95AA7BD}" type="presOf" srcId="{8AC05E34-2108-4B5D-B1C5-710A3E8220EE}" destId="{F315E720-37D8-4FD8-A6AC-3EA668E5D438}" srcOrd="0" destOrd="0" presId="urn:microsoft.com/office/officeart/2005/8/layout/vList2"/>
    <dgm:cxn modelId="{9788BBBB-FE09-4E08-8774-3CF4FD13BC2A}" type="presParOf" srcId="{784CEED2-95FB-442F-986E-E07DC80C34DA}" destId="{22915D99-4758-4B3D-BF70-BF0C0FC6135B}" srcOrd="0" destOrd="0" presId="urn:microsoft.com/office/officeart/2005/8/layout/vList2"/>
    <dgm:cxn modelId="{56EA6242-842E-4EA0-AB3B-733718B3109F}" type="presParOf" srcId="{784CEED2-95FB-442F-986E-E07DC80C34DA}" destId="{9045E6AF-603F-4448-8060-C62ECC3E2023}" srcOrd="1" destOrd="0" presId="urn:microsoft.com/office/officeart/2005/8/layout/vList2"/>
    <dgm:cxn modelId="{AB152726-6350-431A-B88A-F0A9BFC5301F}" type="presParOf" srcId="{784CEED2-95FB-442F-986E-E07DC80C34DA}" destId="{C51605AB-9B12-4028-A5CA-99A11C95E18C}" srcOrd="2" destOrd="0" presId="urn:microsoft.com/office/officeart/2005/8/layout/vList2"/>
    <dgm:cxn modelId="{C6F00D1B-8225-4228-AC26-C044CE02297D}" type="presParOf" srcId="{784CEED2-95FB-442F-986E-E07DC80C34DA}" destId="{9D48B3E5-8000-484D-83D8-8EE6E200CACD}" srcOrd="3" destOrd="0" presId="urn:microsoft.com/office/officeart/2005/8/layout/vList2"/>
    <dgm:cxn modelId="{A2A75D92-BDB5-4B1D-AFA2-DA2CCE59078E}" type="presParOf" srcId="{784CEED2-95FB-442F-986E-E07DC80C34DA}" destId="{F315E720-37D8-4FD8-A6AC-3EA668E5D438}" srcOrd="4" destOrd="0" presId="urn:microsoft.com/office/officeart/2005/8/layout/vList2"/>
    <dgm:cxn modelId="{0A1AD463-3E9F-4463-A4FF-FCF5F9B86535}" type="presParOf" srcId="{784CEED2-95FB-442F-986E-E07DC80C34DA}" destId="{C6C9E903-27A9-4B93-9FC9-78B547E08511}" srcOrd="5" destOrd="0" presId="urn:microsoft.com/office/officeart/2005/8/layout/vList2"/>
    <dgm:cxn modelId="{F2471B11-9366-4CD1-B5E5-210194932CBE}" type="presParOf" srcId="{784CEED2-95FB-442F-986E-E07DC80C34DA}" destId="{399ABE52-E096-45F6-AE6C-89F435566BCB}"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BA3F88FA-1D1E-41A4-A837-0E803B3E2D9B}" type="doc">
      <dgm:prSet loTypeId="urn:microsoft.com/office/officeart/2005/8/layout/vList2" loCatId="list" qsTypeId="urn:microsoft.com/office/officeart/2005/8/quickstyle/simple2" qsCatId="simple" csTypeId="urn:microsoft.com/office/officeart/2005/8/colors/colorful1" csCatId="colorful" phldr="1"/>
      <dgm:spPr/>
      <dgm:t>
        <a:bodyPr/>
        <a:lstStyle/>
        <a:p>
          <a:endParaRPr lang="en-US"/>
        </a:p>
      </dgm:t>
    </dgm:pt>
    <dgm:pt modelId="{3D7E6E1C-2D63-4E60-A2D1-86F598BFF365}">
      <dgm:prSet/>
      <dgm:spPr/>
      <dgm:t>
        <a:bodyPr/>
        <a:lstStyle/>
        <a:p>
          <a:r>
            <a:rPr lang="en-US" dirty="0"/>
            <a:t>One Lazy Writer thread per hardware NUMA node</a:t>
          </a:r>
        </a:p>
      </dgm:t>
    </dgm:pt>
    <dgm:pt modelId="{8C9F0852-3929-4F89-A19F-801FC3860137}" type="parTrans" cxnId="{97C31725-8BFA-42A8-A8C6-B75816E75682}">
      <dgm:prSet/>
      <dgm:spPr/>
      <dgm:t>
        <a:bodyPr/>
        <a:lstStyle/>
        <a:p>
          <a:endParaRPr lang="en-US"/>
        </a:p>
      </dgm:t>
    </dgm:pt>
    <dgm:pt modelId="{E80CE1BE-1413-4BCA-ADF9-DEE278FF3D7D}" type="sibTrans" cxnId="{97C31725-8BFA-42A8-A8C6-B75816E75682}">
      <dgm:prSet/>
      <dgm:spPr/>
      <dgm:t>
        <a:bodyPr/>
        <a:lstStyle/>
        <a:p>
          <a:endParaRPr lang="en-US"/>
        </a:p>
      </dgm:t>
    </dgm:pt>
    <dgm:pt modelId="{4CE91637-8F85-42ED-90A8-9D213062D093}">
      <dgm:prSet/>
      <dgm:spPr/>
      <dgm:t>
        <a:bodyPr/>
        <a:lstStyle/>
        <a:p>
          <a:r>
            <a:rPr lang="en-US" dirty="0"/>
            <a:t>The Lazy Writer sweeps over the Buffer Pool when there is memory pressure to avoid SQL Server being paged</a:t>
          </a:r>
        </a:p>
      </dgm:t>
    </dgm:pt>
    <dgm:pt modelId="{5AA353ED-1318-4D04-AD6F-A9D0AAC41029}" type="parTrans" cxnId="{A47AFC70-B7BA-49A5-BB4C-8528556D167F}">
      <dgm:prSet/>
      <dgm:spPr/>
      <dgm:t>
        <a:bodyPr/>
        <a:lstStyle/>
        <a:p>
          <a:endParaRPr lang="en-US"/>
        </a:p>
      </dgm:t>
    </dgm:pt>
    <dgm:pt modelId="{8C3439D7-BCB6-4967-A996-46C5D422BB08}" type="sibTrans" cxnId="{A47AFC70-B7BA-49A5-BB4C-8528556D167F}">
      <dgm:prSet/>
      <dgm:spPr/>
      <dgm:t>
        <a:bodyPr/>
        <a:lstStyle/>
        <a:p>
          <a:endParaRPr lang="en-US"/>
        </a:p>
      </dgm:t>
    </dgm:pt>
    <dgm:pt modelId="{CE30394E-95F9-4C66-9C3A-9EAE6924701C}">
      <dgm:prSet/>
      <dgm:spPr/>
      <dgm:t>
        <a:bodyPr/>
        <a:lstStyle/>
        <a:p>
          <a:r>
            <a:rPr lang="en-US" dirty="0"/>
            <a:t>When the Lazy Writer searches for eligible buffers</a:t>
          </a:r>
        </a:p>
      </dgm:t>
    </dgm:pt>
    <dgm:pt modelId="{7A9586D5-1247-482E-84D0-A9EDC1295C50}" type="parTrans" cxnId="{DC831434-26B5-4C65-9545-C0DE62559E3D}">
      <dgm:prSet/>
      <dgm:spPr/>
      <dgm:t>
        <a:bodyPr/>
        <a:lstStyle/>
        <a:p>
          <a:endParaRPr lang="en-US"/>
        </a:p>
      </dgm:t>
    </dgm:pt>
    <dgm:pt modelId="{1AE60371-AAFF-4482-9ADE-21D69D01B1C9}" type="sibTrans" cxnId="{DC831434-26B5-4C65-9545-C0DE62559E3D}">
      <dgm:prSet/>
      <dgm:spPr/>
      <dgm:t>
        <a:bodyPr/>
        <a:lstStyle/>
        <a:p>
          <a:endParaRPr lang="en-US"/>
        </a:p>
      </dgm:t>
    </dgm:pt>
    <dgm:pt modelId="{161644BB-9B04-4160-970F-8722B0CCC0F9}">
      <dgm:prSet/>
      <dgm:spPr/>
      <dgm:t>
        <a:bodyPr/>
        <a:lstStyle/>
        <a:p>
          <a:r>
            <a:rPr lang="en-US" dirty="0"/>
            <a:t>If the buffer is dirty, an asynchronous write (lazy write) is posted so that the buffer can be later freed.</a:t>
          </a:r>
        </a:p>
      </dgm:t>
    </dgm:pt>
    <dgm:pt modelId="{65C66AD3-AA13-42EF-8912-7E354278326C}" type="parTrans" cxnId="{E147DD0B-7721-45CA-9789-A128B5B0EAD2}">
      <dgm:prSet/>
      <dgm:spPr/>
      <dgm:t>
        <a:bodyPr/>
        <a:lstStyle/>
        <a:p>
          <a:endParaRPr lang="en-US"/>
        </a:p>
      </dgm:t>
    </dgm:pt>
    <dgm:pt modelId="{5969AC91-2F90-45F3-B0C6-DE74E9D9DE56}" type="sibTrans" cxnId="{E147DD0B-7721-45CA-9789-A128B5B0EAD2}">
      <dgm:prSet/>
      <dgm:spPr/>
      <dgm:t>
        <a:bodyPr/>
        <a:lstStyle/>
        <a:p>
          <a:endParaRPr lang="en-US"/>
        </a:p>
      </dgm:t>
    </dgm:pt>
    <dgm:pt modelId="{BEDC8B6D-D4B7-4C33-B036-4274EDAAEC9A}">
      <dgm:prSet/>
      <dgm:spPr/>
      <dgm:t>
        <a:bodyPr/>
        <a:lstStyle/>
        <a:p>
          <a:r>
            <a:rPr lang="en-US" dirty="0"/>
            <a:t>If the buffer is not dirty, it is freed.</a:t>
          </a:r>
        </a:p>
      </dgm:t>
    </dgm:pt>
    <dgm:pt modelId="{85A7B4A7-EA05-45B5-A374-9AA4394044A9}" type="parTrans" cxnId="{B61E520E-BE56-4769-A797-30EFABE7ADE6}">
      <dgm:prSet/>
      <dgm:spPr/>
      <dgm:t>
        <a:bodyPr/>
        <a:lstStyle/>
        <a:p>
          <a:endParaRPr lang="en-US"/>
        </a:p>
      </dgm:t>
    </dgm:pt>
    <dgm:pt modelId="{6F2DBEC1-A6A6-4D63-A36B-782178EEEFDE}" type="sibTrans" cxnId="{B61E520E-BE56-4769-A797-30EFABE7ADE6}">
      <dgm:prSet/>
      <dgm:spPr/>
      <dgm:t>
        <a:bodyPr/>
        <a:lstStyle/>
        <a:p>
          <a:endParaRPr lang="en-US"/>
        </a:p>
      </dgm:t>
    </dgm:pt>
    <dgm:pt modelId="{56D0C210-48A5-4738-98FD-F14EF2433DC0}">
      <dgm:prSet/>
      <dgm:spPr/>
      <dgm:t>
        <a:bodyPr/>
        <a:lstStyle/>
        <a:p>
          <a:r>
            <a:rPr lang="en-US" dirty="0"/>
            <a:t>Monitor Lazy Writer with </a:t>
          </a:r>
          <a:r>
            <a:rPr lang="en-US" dirty="0" err="1"/>
            <a:t>sys.dm_os_memory_cache_clock_hands</a:t>
          </a:r>
          <a:endParaRPr lang="en-US" dirty="0"/>
        </a:p>
      </dgm:t>
    </dgm:pt>
    <dgm:pt modelId="{EA3DE130-940A-4C98-A4F2-AF2F6623535D}" type="parTrans" cxnId="{80738469-7E8B-4DB0-B625-5199C48E4D42}">
      <dgm:prSet/>
      <dgm:spPr/>
      <dgm:t>
        <a:bodyPr/>
        <a:lstStyle/>
        <a:p>
          <a:endParaRPr lang="en-US"/>
        </a:p>
      </dgm:t>
    </dgm:pt>
    <dgm:pt modelId="{8D602CF3-BAC0-4AD9-BFB6-79159BDFCE70}" type="sibTrans" cxnId="{80738469-7E8B-4DB0-B625-5199C48E4D42}">
      <dgm:prSet/>
      <dgm:spPr/>
      <dgm:t>
        <a:bodyPr/>
        <a:lstStyle/>
        <a:p>
          <a:endParaRPr lang="en-US"/>
        </a:p>
      </dgm:t>
    </dgm:pt>
    <dgm:pt modelId="{1C846DD6-05EF-498A-AD3D-6A2BC3F31EC3}" type="pres">
      <dgm:prSet presAssocID="{BA3F88FA-1D1E-41A4-A837-0E803B3E2D9B}" presName="linear" presStyleCnt="0">
        <dgm:presLayoutVars>
          <dgm:animLvl val="lvl"/>
          <dgm:resizeHandles val="exact"/>
        </dgm:presLayoutVars>
      </dgm:prSet>
      <dgm:spPr/>
    </dgm:pt>
    <dgm:pt modelId="{402974D2-99C2-4A58-A91A-9AAA96D00ED3}" type="pres">
      <dgm:prSet presAssocID="{3D7E6E1C-2D63-4E60-A2D1-86F598BFF365}" presName="parentText" presStyleLbl="node1" presStyleIdx="0" presStyleCnt="4">
        <dgm:presLayoutVars>
          <dgm:chMax val="0"/>
          <dgm:bulletEnabled val="1"/>
        </dgm:presLayoutVars>
      </dgm:prSet>
      <dgm:spPr/>
    </dgm:pt>
    <dgm:pt modelId="{548D08EA-716E-42DE-B3B9-8CE4039D6DE1}" type="pres">
      <dgm:prSet presAssocID="{E80CE1BE-1413-4BCA-ADF9-DEE278FF3D7D}" presName="spacer" presStyleCnt="0"/>
      <dgm:spPr/>
    </dgm:pt>
    <dgm:pt modelId="{D0B78C38-FBE9-4610-A6A7-BF0A8CACEED9}" type="pres">
      <dgm:prSet presAssocID="{4CE91637-8F85-42ED-90A8-9D213062D093}" presName="parentText" presStyleLbl="node1" presStyleIdx="1" presStyleCnt="4">
        <dgm:presLayoutVars>
          <dgm:chMax val="0"/>
          <dgm:bulletEnabled val="1"/>
        </dgm:presLayoutVars>
      </dgm:prSet>
      <dgm:spPr/>
    </dgm:pt>
    <dgm:pt modelId="{2EC763F9-F5E8-4402-83B4-9B198863C9E5}" type="pres">
      <dgm:prSet presAssocID="{8C3439D7-BCB6-4967-A996-46C5D422BB08}" presName="spacer" presStyleCnt="0"/>
      <dgm:spPr/>
    </dgm:pt>
    <dgm:pt modelId="{D14B874A-07C0-4B29-97FA-55B19838829E}" type="pres">
      <dgm:prSet presAssocID="{CE30394E-95F9-4C66-9C3A-9EAE6924701C}" presName="parentText" presStyleLbl="node1" presStyleIdx="2" presStyleCnt="4">
        <dgm:presLayoutVars>
          <dgm:chMax val="0"/>
          <dgm:bulletEnabled val="1"/>
        </dgm:presLayoutVars>
      </dgm:prSet>
      <dgm:spPr/>
    </dgm:pt>
    <dgm:pt modelId="{658899EC-B57B-4C3E-9FF2-883A0B4C598B}" type="pres">
      <dgm:prSet presAssocID="{CE30394E-95F9-4C66-9C3A-9EAE6924701C}" presName="childText" presStyleLbl="revTx" presStyleIdx="0" presStyleCnt="1">
        <dgm:presLayoutVars>
          <dgm:bulletEnabled val="1"/>
        </dgm:presLayoutVars>
      </dgm:prSet>
      <dgm:spPr/>
    </dgm:pt>
    <dgm:pt modelId="{62E2D165-1480-43B3-B30C-109A44A1ABA8}" type="pres">
      <dgm:prSet presAssocID="{56D0C210-48A5-4738-98FD-F14EF2433DC0}" presName="parentText" presStyleLbl="node1" presStyleIdx="3" presStyleCnt="4">
        <dgm:presLayoutVars>
          <dgm:chMax val="0"/>
          <dgm:bulletEnabled val="1"/>
        </dgm:presLayoutVars>
      </dgm:prSet>
      <dgm:spPr/>
    </dgm:pt>
  </dgm:ptLst>
  <dgm:cxnLst>
    <dgm:cxn modelId="{E147DD0B-7721-45CA-9789-A128B5B0EAD2}" srcId="{CE30394E-95F9-4C66-9C3A-9EAE6924701C}" destId="{161644BB-9B04-4160-970F-8722B0CCC0F9}" srcOrd="0" destOrd="0" parTransId="{65C66AD3-AA13-42EF-8912-7E354278326C}" sibTransId="{5969AC91-2F90-45F3-B0C6-DE74E9D9DE56}"/>
    <dgm:cxn modelId="{5D70F00C-E4A1-4BE7-92C3-0F1D1E3A90FC}" type="presOf" srcId="{BA3F88FA-1D1E-41A4-A837-0E803B3E2D9B}" destId="{1C846DD6-05EF-498A-AD3D-6A2BC3F31EC3}" srcOrd="0" destOrd="0" presId="urn:microsoft.com/office/officeart/2005/8/layout/vList2"/>
    <dgm:cxn modelId="{90B1E20D-3CDF-46A7-9E2F-F2000DFFCF97}" type="presOf" srcId="{3D7E6E1C-2D63-4E60-A2D1-86F598BFF365}" destId="{402974D2-99C2-4A58-A91A-9AAA96D00ED3}" srcOrd="0" destOrd="0" presId="urn:microsoft.com/office/officeart/2005/8/layout/vList2"/>
    <dgm:cxn modelId="{B61E520E-BE56-4769-A797-30EFABE7ADE6}" srcId="{CE30394E-95F9-4C66-9C3A-9EAE6924701C}" destId="{BEDC8B6D-D4B7-4C33-B036-4274EDAAEC9A}" srcOrd="1" destOrd="0" parTransId="{85A7B4A7-EA05-45B5-A374-9AA4394044A9}" sibTransId="{6F2DBEC1-A6A6-4D63-A36B-782178EEEFDE}"/>
    <dgm:cxn modelId="{97C31725-8BFA-42A8-A8C6-B75816E75682}" srcId="{BA3F88FA-1D1E-41A4-A837-0E803B3E2D9B}" destId="{3D7E6E1C-2D63-4E60-A2D1-86F598BFF365}" srcOrd="0" destOrd="0" parTransId="{8C9F0852-3929-4F89-A19F-801FC3860137}" sibTransId="{E80CE1BE-1413-4BCA-ADF9-DEE278FF3D7D}"/>
    <dgm:cxn modelId="{7300882B-FE83-463A-AC55-17EFDE3CB3F0}" type="presOf" srcId="{4CE91637-8F85-42ED-90A8-9D213062D093}" destId="{D0B78C38-FBE9-4610-A6A7-BF0A8CACEED9}" srcOrd="0" destOrd="0" presId="urn:microsoft.com/office/officeart/2005/8/layout/vList2"/>
    <dgm:cxn modelId="{DC831434-26B5-4C65-9545-C0DE62559E3D}" srcId="{BA3F88FA-1D1E-41A4-A837-0E803B3E2D9B}" destId="{CE30394E-95F9-4C66-9C3A-9EAE6924701C}" srcOrd="2" destOrd="0" parTransId="{7A9586D5-1247-482E-84D0-A9EDC1295C50}" sibTransId="{1AE60371-AAFF-4482-9ADE-21D69D01B1C9}"/>
    <dgm:cxn modelId="{80738469-7E8B-4DB0-B625-5199C48E4D42}" srcId="{BA3F88FA-1D1E-41A4-A837-0E803B3E2D9B}" destId="{56D0C210-48A5-4738-98FD-F14EF2433DC0}" srcOrd="3" destOrd="0" parTransId="{EA3DE130-940A-4C98-A4F2-AF2F6623535D}" sibTransId="{8D602CF3-BAC0-4AD9-BFB6-79159BDFCE70}"/>
    <dgm:cxn modelId="{9FE10C6E-3341-4C16-94D9-433153354C20}" type="presOf" srcId="{161644BB-9B04-4160-970F-8722B0CCC0F9}" destId="{658899EC-B57B-4C3E-9FF2-883A0B4C598B}" srcOrd="0" destOrd="0" presId="urn:microsoft.com/office/officeart/2005/8/layout/vList2"/>
    <dgm:cxn modelId="{A47AFC70-B7BA-49A5-BB4C-8528556D167F}" srcId="{BA3F88FA-1D1E-41A4-A837-0E803B3E2D9B}" destId="{4CE91637-8F85-42ED-90A8-9D213062D093}" srcOrd="1" destOrd="0" parTransId="{5AA353ED-1318-4D04-AD6F-A9D0AAC41029}" sibTransId="{8C3439D7-BCB6-4967-A996-46C5D422BB08}"/>
    <dgm:cxn modelId="{AD251485-8F3F-40D8-9A2E-93A7F167AA58}" type="presOf" srcId="{CE30394E-95F9-4C66-9C3A-9EAE6924701C}" destId="{D14B874A-07C0-4B29-97FA-55B19838829E}" srcOrd="0" destOrd="0" presId="urn:microsoft.com/office/officeart/2005/8/layout/vList2"/>
    <dgm:cxn modelId="{4E4E12B5-0236-47A6-9CC6-4E9B1AFD3979}" type="presOf" srcId="{BEDC8B6D-D4B7-4C33-B036-4274EDAAEC9A}" destId="{658899EC-B57B-4C3E-9FF2-883A0B4C598B}" srcOrd="0" destOrd="1" presId="urn:microsoft.com/office/officeart/2005/8/layout/vList2"/>
    <dgm:cxn modelId="{08BF59EF-E36D-4577-98A5-46DFF0125699}" type="presOf" srcId="{56D0C210-48A5-4738-98FD-F14EF2433DC0}" destId="{62E2D165-1480-43B3-B30C-109A44A1ABA8}" srcOrd="0" destOrd="0" presId="urn:microsoft.com/office/officeart/2005/8/layout/vList2"/>
    <dgm:cxn modelId="{17DABC30-15FC-4408-8098-4CFBA74823AD}" type="presParOf" srcId="{1C846DD6-05EF-498A-AD3D-6A2BC3F31EC3}" destId="{402974D2-99C2-4A58-A91A-9AAA96D00ED3}" srcOrd="0" destOrd="0" presId="urn:microsoft.com/office/officeart/2005/8/layout/vList2"/>
    <dgm:cxn modelId="{8233B658-39CE-46F6-AAE9-0B3D37ED9C66}" type="presParOf" srcId="{1C846DD6-05EF-498A-AD3D-6A2BC3F31EC3}" destId="{548D08EA-716E-42DE-B3B9-8CE4039D6DE1}" srcOrd="1" destOrd="0" presId="urn:microsoft.com/office/officeart/2005/8/layout/vList2"/>
    <dgm:cxn modelId="{AFBEC630-F0AD-43F0-A089-45408982CF6A}" type="presParOf" srcId="{1C846DD6-05EF-498A-AD3D-6A2BC3F31EC3}" destId="{D0B78C38-FBE9-4610-A6A7-BF0A8CACEED9}" srcOrd="2" destOrd="0" presId="urn:microsoft.com/office/officeart/2005/8/layout/vList2"/>
    <dgm:cxn modelId="{BD7CFA3C-1060-4F52-BB8F-EAF2FBC0567C}" type="presParOf" srcId="{1C846DD6-05EF-498A-AD3D-6A2BC3F31EC3}" destId="{2EC763F9-F5E8-4402-83B4-9B198863C9E5}" srcOrd="3" destOrd="0" presId="urn:microsoft.com/office/officeart/2005/8/layout/vList2"/>
    <dgm:cxn modelId="{FE13BE2F-6095-4C75-B783-2A6F1A29A307}" type="presParOf" srcId="{1C846DD6-05EF-498A-AD3D-6A2BC3F31EC3}" destId="{D14B874A-07C0-4B29-97FA-55B19838829E}" srcOrd="4" destOrd="0" presId="urn:microsoft.com/office/officeart/2005/8/layout/vList2"/>
    <dgm:cxn modelId="{CFBE2CED-8721-48D6-8246-2467AF9F3EAD}" type="presParOf" srcId="{1C846DD6-05EF-498A-AD3D-6A2BC3F31EC3}" destId="{658899EC-B57B-4C3E-9FF2-883A0B4C598B}" srcOrd="5" destOrd="0" presId="urn:microsoft.com/office/officeart/2005/8/layout/vList2"/>
    <dgm:cxn modelId="{7A058598-03F6-494F-8314-9583D32141B2}" type="presParOf" srcId="{1C846DD6-05EF-498A-AD3D-6A2BC3F31EC3}" destId="{62E2D165-1480-43B3-B30C-109A44A1ABA8}"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E6630CAF-0F7F-4826-8D55-D1CFCE127C3B}"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95363AB8-510E-49EB-A269-EB3EDB574F16}">
      <dgm:prSet custT="1"/>
      <dgm:spPr/>
      <dgm:t>
        <a:bodyPr/>
        <a:lstStyle/>
        <a:p>
          <a:r>
            <a:rPr lang="en-US" sz="2400" dirty="0"/>
            <a:t>Use non-volatile drives (solid-state drives (SSD)) to extend buffer pool.</a:t>
          </a:r>
        </a:p>
      </dgm:t>
    </dgm:pt>
    <dgm:pt modelId="{431DDC0C-3F1F-47C4-9743-C3FAFBCBABD4}" type="parTrans" cxnId="{E51DA0FC-DA65-42ED-AE26-665191EA59C4}">
      <dgm:prSet/>
      <dgm:spPr/>
      <dgm:t>
        <a:bodyPr/>
        <a:lstStyle/>
        <a:p>
          <a:endParaRPr lang="en-US"/>
        </a:p>
      </dgm:t>
    </dgm:pt>
    <dgm:pt modelId="{19B42727-DF8B-4279-A04B-FEC3F87A7C55}" type="sibTrans" cxnId="{E51DA0FC-DA65-42ED-AE26-665191EA59C4}">
      <dgm:prSet/>
      <dgm:spPr/>
      <dgm:t>
        <a:bodyPr/>
        <a:lstStyle/>
        <a:p>
          <a:endParaRPr lang="en-US"/>
        </a:p>
      </dgm:t>
    </dgm:pt>
    <dgm:pt modelId="{E0BE74D2-A89A-4D81-A68E-6368E35F4419}">
      <dgm:prSet custT="1"/>
      <dgm:spPr/>
      <dgm:t>
        <a:bodyPr/>
        <a:lstStyle/>
        <a:p>
          <a:r>
            <a:rPr lang="en-US" sz="2400" dirty="0"/>
            <a:t>No benefit to performance if there is enough memory in the server (adding memory is preferable, if possible).</a:t>
          </a:r>
        </a:p>
      </dgm:t>
    </dgm:pt>
    <dgm:pt modelId="{D8F3CA49-3380-4215-BEFA-D22810F27770}" type="parTrans" cxnId="{92DBBFD9-3025-4CF9-9B2A-E792D93FD8DD}">
      <dgm:prSet/>
      <dgm:spPr/>
      <dgm:t>
        <a:bodyPr/>
        <a:lstStyle/>
        <a:p>
          <a:endParaRPr lang="en-US"/>
        </a:p>
      </dgm:t>
    </dgm:pt>
    <dgm:pt modelId="{FC4B8072-BC1C-4613-94E8-E893F16F1A48}" type="sibTrans" cxnId="{92DBBFD9-3025-4CF9-9B2A-E792D93FD8DD}">
      <dgm:prSet/>
      <dgm:spPr/>
      <dgm:t>
        <a:bodyPr/>
        <a:lstStyle/>
        <a:p>
          <a:endParaRPr lang="en-US"/>
        </a:p>
      </dgm:t>
    </dgm:pt>
    <dgm:pt modelId="{5F2F7FE9-94A8-4C9F-A8E8-08AAC55BA28F}">
      <dgm:prSet custT="1"/>
      <dgm:spPr/>
      <dgm:t>
        <a:bodyPr/>
        <a:lstStyle/>
        <a:p>
          <a:r>
            <a:rPr lang="en-US" sz="2400" dirty="0"/>
            <a:t>Best to use SSD storage sized 4x-10x times of RAM size.</a:t>
          </a:r>
        </a:p>
      </dgm:t>
    </dgm:pt>
    <dgm:pt modelId="{59F4C62E-3041-4C19-8331-A8652B99F313}" type="parTrans" cxnId="{99B7248A-60F5-4D89-8E34-D2FFF9223D32}">
      <dgm:prSet/>
      <dgm:spPr/>
      <dgm:t>
        <a:bodyPr/>
        <a:lstStyle/>
        <a:p>
          <a:endParaRPr lang="en-US"/>
        </a:p>
      </dgm:t>
    </dgm:pt>
    <dgm:pt modelId="{C02055C6-2341-4F4A-9843-D8DA15D13AE3}" type="sibTrans" cxnId="{99B7248A-60F5-4D89-8E34-D2FFF9223D32}">
      <dgm:prSet/>
      <dgm:spPr/>
      <dgm:t>
        <a:bodyPr/>
        <a:lstStyle/>
        <a:p>
          <a:endParaRPr lang="en-US"/>
        </a:p>
      </dgm:t>
    </dgm:pt>
    <dgm:pt modelId="{FDDCF8CF-A99E-4563-BCC6-464A48B639AD}" type="pres">
      <dgm:prSet presAssocID="{E6630CAF-0F7F-4826-8D55-D1CFCE127C3B}" presName="linear" presStyleCnt="0">
        <dgm:presLayoutVars>
          <dgm:animLvl val="lvl"/>
          <dgm:resizeHandles val="exact"/>
        </dgm:presLayoutVars>
      </dgm:prSet>
      <dgm:spPr/>
    </dgm:pt>
    <dgm:pt modelId="{94502864-0045-4722-9EC2-FDBE9E7D75F4}" type="pres">
      <dgm:prSet presAssocID="{95363AB8-510E-49EB-A269-EB3EDB574F16}" presName="parentText" presStyleLbl="node1" presStyleIdx="0" presStyleCnt="3">
        <dgm:presLayoutVars>
          <dgm:chMax val="0"/>
          <dgm:bulletEnabled val="1"/>
        </dgm:presLayoutVars>
      </dgm:prSet>
      <dgm:spPr/>
    </dgm:pt>
    <dgm:pt modelId="{B7815E9A-024F-4002-BA9F-9F57CD2C48B4}" type="pres">
      <dgm:prSet presAssocID="{19B42727-DF8B-4279-A04B-FEC3F87A7C55}" presName="spacer" presStyleCnt="0"/>
      <dgm:spPr/>
    </dgm:pt>
    <dgm:pt modelId="{DEBF5C4A-AE13-4657-9CBC-5B4667EAC340}" type="pres">
      <dgm:prSet presAssocID="{E0BE74D2-A89A-4D81-A68E-6368E35F4419}" presName="parentText" presStyleLbl="node1" presStyleIdx="1" presStyleCnt="3">
        <dgm:presLayoutVars>
          <dgm:chMax val="0"/>
          <dgm:bulletEnabled val="1"/>
        </dgm:presLayoutVars>
      </dgm:prSet>
      <dgm:spPr/>
    </dgm:pt>
    <dgm:pt modelId="{679BEAC9-0E44-4438-BE04-0CC7CDE810BA}" type="pres">
      <dgm:prSet presAssocID="{FC4B8072-BC1C-4613-94E8-E893F16F1A48}" presName="spacer" presStyleCnt="0"/>
      <dgm:spPr/>
    </dgm:pt>
    <dgm:pt modelId="{CF3D660F-646B-4B7C-91AE-2B9918F24539}" type="pres">
      <dgm:prSet presAssocID="{5F2F7FE9-94A8-4C9F-A8E8-08AAC55BA28F}" presName="parentText" presStyleLbl="node1" presStyleIdx="2" presStyleCnt="3">
        <dgm:presLayoutVars>
          <dgm:chMax val="0"/>
          <dgm:bulletEnabled val="1"/>
        </dgm:presLayoutVars>
      </dgm:prSet>
      <dgm:spPr/>
    </dgm:pt>
  </dgm:ptLst>
  <dgm:cxnLst>
    <dgm:cxn modelId="{84EAE02F-9DC4-484F-B467-6E341DAA2B20}" type="presOf" srcId="{E6630CAF-0F7F-4826-8D55-D1CFCE127C3B}" destId="{FDDCF8CF-A99E-4563-BCC6-464A48B639AD}" srcOrd="0" destOrd="0" presId="urn:microsoft.com/office/officeart/2005/8/layout/vList2"/>
    <dgm:cxn modelId="{703F277A-F58C-4980-BD86-B8FED5BEE72F}" type="presOf" srcId="{5F2F7FE9-94A8-4C9F-A8E8-08AAC55BA28F}" destId="{CF3D660F-646B-4B7C-91AE-2B9918F24539}" srcOrd="0" destOrd="0" presId="urn:microsoft.com/office/officeart/2005/8/layout/vList2"/>
    <dgm:cxn modelId="{9527207B-F52A-4FD7-B90F-4E7D00C6C11C}" type="presOf" srcId="{E0BE74D2-A89A-4D81-A68E-6368E35F4419}" destId="{DEBF5C4A-AE13-4657-9CBC-5B4667EAC340}" srcOrd="0" destOrd="0" presId="urn:microsoft.com/office/officeart/2005/8/layout/vList2"/>
    <dgm:cxn modelId="{99B7248A-60F5-4D89-8E34-D2FFF9223D32}" srcId="{E6630CAF-0F7F-4826-8D55-D1CFCE127C3B}" destId="{5F2F7FE9-94A8-4C9F-A8E8-08AAC55BA28F}" srcOrd="2" destOrd="0" parTransId="{59F4C62E-3041-4C19-8331-A8652B99F313}" sibTransId="{C02055C6-2341-4F4A-9843-D8DA15D13AE3}"/>
    <dgm:cxn modelId="{4DAF52BC-F9C9-47C8-BE7F-0FEE9C603E42}" type="presOf" srcId="{95363AB8-510E-49EB-A269-EB3EDB574F16}" destId="{94502864-0045-4722-9EC2-FDBE9E7D75F4}" srcOrd="0" destOrd="0" presId="urn:microsoft.com/office/officeart/2005/8/layout/vList2"/>
    <dgm:cxn modelId="{92DBBFD9-3025-4CF9-9B2A-E792D93FD8DD}" srcId="{E6630CAF-0F7F-4826-8D55-D1CFCE127C3B}" destId="{E0BE74D2-A89A-4D81-A68E-6368E35F4419}" srcOrd="1" destOrd="0" parTransId="{D8F3CA49-3380-4215-BEFA-D22810F27770}" sibTransId="{FC4B8072-BC1C-4613-94E8-E893F16F1A48}"/>
    <dgm:cxn modelId="{E51DA0FC-DA65-42ED-AE26-665191EA59C4}" srcId="{E6630CAF-0F7F-4826-8D55-D1CFCE127C3B}" destId="{95363AB8-510E-49EB-A269-EB3EDB574F16}" srcOrd="0" destOrd="0" parTransId="{431DDC0C-3F1F-47C4-9743-C3FAFBCBABD4}" sibTransId="{19B42727-DF8B-4279-A04B-FEC3F87A7C55}"/>
    <dgm:cxn modelId="{55F5879A-8034-4895-9A58-221D5F64E9B2}" type="presParOf" srcId="{FDDCF8CF-A99E-4563-BCC6-464A48B639AD}" destId="{94502864-0045-4722-9EC2-FDBE9E7D75F4}" srcOrd="0" destOrd="0" presId="urn:microsoft.com/office/officeart/2005/8/layout/vList2"/>
    <dgm:cxn modelId="{B4F95192-1A65-491E-A6D2-B4639018119A}" type="presParOf" srcId="{FDDCF8CF-A99E-4563-BCC6-464A48B639AD}" destId="{B7815E9A-024F-4002-BA9F-9F57CD2C48B4}" srcOrd="1" destOrd="0" presId="urn:microsoft.com/office/officeart/2005/8/layout/vList2"/>
    <dgm:cxn modelId="{D3612256-5BA0-4ED4-B733-21F36DC409BB}" type="presParOf" srcId="{FDDCF8CF-A99E-4563-BCC6-464A48B639AD}" destId="{DEBF5C4A-AE13-4657-9CBC-5B4667EAC340}" srcOrd="2" destOrd="0" presId="urn:microsoft.com/office/officeart/2005/8/layout/vList2"/>
    <dgm:cxn modelId="{FB46DE21-1CBB-45C6-A2C3-5AB3C5974E1E}" type="presParOf" srcId="{FDDCF8CF-A99E-4563-BCC6-464A48B639AD}" destId="{679BEAC9-0E44-4438-BE04-0CC7CDE810BA}" srcOrd="3" destOrd="0" presId="urn:microsoft.com/office/officeart/2005/8/layout/vList2"/>
    <dgm:cxn modelId="{7997958C-E203-4FE0-B8B3-217666F84C75}" type="presParOf" srcId="{FDDCF8CF-A99E-4563-BCC6-464A48B639AD}" destId="{CF3D660F-646B-4B7C-91AE-2B9918F24539}" srcOrd="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E6630CAF-0F7F-4826-8D55-D1CFCE127C3B}"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95363AB8-510E-49EB-A269-EB3EDB574F16}">
      <dgm:prSet custT="1"/>
      <dgm:spPr/>
      <dgm:t>
        <a:bodyPr/>
        <a:lstStyle/>
        <a:p>
          <a:r>
            <a:rPr lang="en-US" sz="2000" b="0" i="0" dirty="0"/>
            <a:t>Buffer Pool Parallel Scans improves the performance of buffer pool scan operations on large-memory machines by utilizing multiple CPU cores.</a:t>
          </a:r>
          <a:endParaRPr lang="en-US" sz="2000" dirty="0"/>
        </a:p>
      </dgm:t>
    </dgm:pt>
    <dgm:pt modelId="{431DDC0C-3F1F-47C4-9743-C3FAFBCBABD4}" type="parTrans" cxnId="{E51DA0FC-DA65-42ED-AE26-665191EA59C4}">
      <dgm:prSet/>
      <dgm:spPr/>
      <dgm:t>
        <a:bodyPr/>
        <a:lstStyle/>
        <a:p>
          <a:endParaRPr lang="en-US"/>
        </a:p>
      </dgm:t>
    </dgm:pt>
    <dgm:pt modelId="{19B42727-DF8B-4279-A04B-FEC3F87A7C55}" type="sibTrans" cxnId="{E51DA0FC-DA65-42ED-AE26-665191EA59C4}">
      <dgm:prSet/>
      <dgm:spPr/>
      <dgm:t>
        <a:bodyPr/>
        <a:lstStyle/>
        <a:p>
          <a:endParaRPr lang="en-US"/>
        </a:p>
      </dgm:t>
    </dgm:pt>
    <dgm:pt modelId="{4C11F950-CA47-44DC-9DAE-14692CD1836C}">
      <dgm:prSet custT="1"/>
      <dgm:spPr/>
      <dgm:t>
        <a:bodyPr/>
        <a:lstStyle/>
        <a:p>
          <a:r>
            <a:rPr lang="en-US" sz="2000" b="0" i="0" dirty="0"/>
            <a:t>There will be one task per 8 million buffers (64 GB) where a serial scan will still be used if there are less than 8 million buffers.</a:t>
          </a:r>
        </a:p>
      </dgm:t>
    </dgm:pt>
    <dgm:pt modelId="{81F7301D-8412-4D18-B869-F577E3775C16}" type="parTrans" cxnId="{E466921B-35A4-4892-8891-0654ED2B69EC}">
      <dgm:prSet/>
      <dgm:spPr/>
      <dgm:t>
        <a:bodyPr/>
        <a:lstStyle/>
        <a:p>
          <a:endParaRPr lang="en-US"/>
        </a:p>
      </dgm:t>
    </dgm:pt>
    <dgm:pt modelId="{0CF56CFB-B93D-49A3-9B1B-B9F254FAAA75}" type="sibTrans" cxnId="{E466921B-35A4-4892-8891-0654ED2B69EC}">
      <dgm:prSet/>
      <dgm:spPr/>
      <dgm:t>
        <a:bodyPr/>
        <a:lstStyle/>
        <a:p>
          <a:endParaRPr lang="en-US"/>
        </a:p>
      </dgm:t>
    </dgm:pt>
    <dgm:pt modelId="{640A97A7-3924-4621-AA7F-B3EB4899CBD5}">
      <dgm:prSet custT="1"/>
      <dgm:spPr/>
      <dgm:t>
        <a:bodyPr/>
        <a:lstStyle/>
        <a:p>
          <a:r>
            <a:rPr lang="en-US" sz="2000" dirty="0"/>
            <a:t>Operations that cause a buffer pool scan.</a:t>
          </a:r>
        </a:p>
      </dgm:t>
    </dgm:pt>
    <dgm:pt modelId="{31B01655-CFD1-4F7D-A713-0774E098B186}" type="parTrans" cxnId="{D3430DB9-F02C-48DA-A037-BEE90A93149B}">
      <dgm:prSet/>
      <dgm:spPr/>
      <dgm:t>
        <a:bodyPr/>
        <a:lstStyle/>
        <a:p>
          <a:endParaRPr lang="en-US"/>
        </a:p>
      </dgm:t>
    </dgm:pt>
    <dgm:pt modelId="{82338179-4FFD-43B4-A062-6655AFAA9A62}" type="sibTrans" cxnId="{D3430DB9-F02C-48DA-A037-BEE90A93149B}">
      <dgm:prSet/>
      <dgm:spPr/>
      <dgm:t>
        <a:bodyPr/>
        <a:lstStyle/>
        <a:p>
          <a:endParaRPr lang="en-US"/>
        </a:p>
      </dgm:t>
    </dgm:pt>
    <dgm:pt modelId="{6A979241-3E76-4589-A679-4F6817CF133C}">
      <dgm:prSet custT="1"/>
      <dgm:spPr/>
      <dgm:t>
        <a:bodyPr/>
        <a:lstStyle/>
        <a:p>
          <a:pPr>
            <a:buFont typeface="Arial" panose="020B0604020202020204" pitchFamily="34" charset="0"/>
            <a:buChar char="•"/>
          </a:pPr>
          <a:r>
            <a:rPr lang="en-US" sz="1800" b="0" i="0" dirty="0"/>
            <a:t>Database startup</a:t>
          </a:r>
          <a:endParaRPr lang="en-US" sz="1800" dirty="0"/>
        </a:p>
      </dgm:t>
    </dgm:pt>
    <dgm:pt modelId="{63164705-B768-4DA1-8409-814799841693}" type="parTrans" cxnId="{EDA4B45C-1E92-4F75-B885-A6566723157A}">
      <dgm:prSet/>
      <dgm:spPr/>
      <dgm:t>
        <a:bodyPr/>
        <a:lstStyle/>
        <a:p>
          <a:endParaRPr lang="en-US"/>
        </a:p>
      </dgm:t>
    </dgm:pt>
    <dgm:pt modelId="{7FA048C0-7F65-4123-9047-1BA27A124D43}" type="sibTrans" cxnId="{EDA4B45C-1E92-4F75-B885-A6566723157A}">
      <dgm:prSet/>
      <dgm:spPr/>
      <dgm:t>
        <a:bodyPr/>
        <a:lstStyle/>
        <a:p>
          <a:endParaRPr lang="en-US"/>
        </a:p>
      </dgm:t>
    </dgm:pt>
    <dgm:pt modelId="{835F0E81-6A1A-49AD-9C71-E5C71FFDBB94}">
      <dgm:prSet custT="1"/>
      <dgm:spPr/>
      <dgm:t>
        <a:bodyPr/>
        <a:lstStyle/>
        <a:p>
          <a:pPr>
            <a:buFont typeface="Arial" panose="020B0604020202020204" pitchFamily="34" charset="0"/>
            <a:buChar char="•"/>
          </a:pPr>
          <a:r>
            <a:rPr lang="en-US" sz="1800" b="0" i="0" dirty="0"/>
            <a:t>Database shutdown or restart</a:t>
          </a:r>
        </a:p>
      </dgm:t>
    </dgm:pt>
    <dgm:pt modelId="{AE6CE765-83E1-4F23-9FFD-0A81DD896E32}" type="parTrans" cxnId="{6F60B2F9-73F8-4210-8F09-504C5DA7A9B9}">
      <dgm:prSet/>
      <dgm:spPr/>
      <dgm:t>
        <a:bodyPr/>
        <a:lstStyle/>
        <a:p>
          <a:endParaRPr lang="en-US"/>
        </a:p>
      </dgm:t>
    </dgm:pt>
    <dgm:pt modelId="{99D29454-4435-4703-A7DD-4207376157C9}" type="sibTrans" cxnId="{6F60B2F9-73F8-4210-8F09-504C5DA7A9B9}">
      <dgm:prSet/>
      <dgm:spPr/>
      <dgm:t>
        <a:bodyPr/>
        <a:lstStyle/>
        <a:p>
          <a:endParaRPr lang="en-US"/>
        </a:p>
      </dgm:t>
    </dgm:pt>
    <dgm:pt modelId="{0995874F-3759-4F69-AC5F-425F905FADFE}">
      <dgm:prSet custT="1"/>
      <dgm:spPr/>
      <dgm:t>
        <a:bodyPr/>
        <a:lstStyle/>
        <a:p>
          <a:pPr>
            <a:buFont typeface="Arial" panose="020B0604020202020204" pitchFamily="34" charset="0"/>
            <a:buChar char="•"/>
          </a:pPr>
          <a:r>
            <a:rPr lang="en-US" sz="1800" b="0" i="0" dirty="0"/>
            <a:t>AG failover</a:t>
          </a:r>
        </a:p>
      </dgm:t>
    </dgm:pt>
    <dgm:pt modelId="{F5910C18-CFC5-4094-813E-8D053B025B9B}" type="parTrans" cxnId="{E431F7E1-3D6D-4F0E-AB31-90B897F635A2}">
      <dgm:prSet/>
      <dgm:spPr/>
      <dgm:t>
        <a:bodyPr/>
        <a:lstStyle/>
        <a:p>
          <a:endParaRPr lang="en-US"/>
        </a:p>
      </dgm:t>
    </dgm:pt>
    <dgm:pt modelId="{C3F68893-EBBC-4645-A4CE-4B26E672B47C}" type="sibTrans" cxnId="{E431F7E1-3D6D-4F0E-AB31-90B897F635A2}">
      <dgm:prSet/>
      <dgm:spPr/>
      <dgm:t>
        <a:bodyPr/>
        <a:lstStyle/>
        <a:p>
          <a:endParaRPr lang="en-US"/>
        </a:p>
      </dgm:t>
    </dgm:pt>
    <dgm:pt modelId="{4965A708-1D67-45EF-A7A3-D61F3CB99940}">
      <dgm:prSet custT="1"/>
      <dgm:spPr/>
      <dgm:t>
        <a:bodyPr/>
        <a:lstStyle/>
        <a:p>
          <a:pPr>
            <a:buFont typeface="Arial" panose="020B0604020202020204" pitchFamily="34" charset="0"/>
            <a:buChar char="•"/>
          </a:pPr>
          <a:r>
            <a:rPr lang="en-US" sz="1800" b="0" i="0" dirty="0"/>
            <a:t>Database removal (drop)</a:t>
          </a:r>
        </a:p>
      </dgm:t>
    </dgm:pt>
    <dgm:pt modelId="{AE046CD4-9EC0-4473-8E74-D23FC641E79C}" type="parTrans" cxnId="{34C1BAE7-4684-4FF8-8E7A-CC82C1B71AAF}">
      <dgm:prSet/>
      <dgm:spPr/>
      <dgm:t>
        <a:bodyPr/>
        <a:lstStyle/>
        <a:p>
          <a:endParaRPr lang="en-US"/>
        </a:p>
      </dgm:t>
    </dgm:pt>
    <dgm:pt modelId="{FBD15ADF-BB49-44B6-9071-E50002D9CEAF}" type="sibTrans" cxnId="{34C1BAE7-4684-4FF8-8E7A-CC82C1B71AAF}">
      <dgm:prSet/>
      <dgm:spPr/>
      <dgm:t>
        <a:bodyPr/>
        <a:lstStyle/>
        <a:p>
          <a:endParaRPr lang="en-US"/>
        </a:p>
      </dgm:t>
    </dgm:pt>
    <dgm:pt modelId="{CFB1B541-A267-42DA-80EB-484A91B387B1}">
      <dgm:prSet custT="1"/>
      <dgm:spPr/>
      <dgm:t>
        <a:bodyPr/>
        <a:lstStyle/>
        <a:p>
          <a:pPr>
            <a:buFont typeface="Arial" panose="020B0604020202020204" pitchFamily="34" charset="0"/>
            <a:buChar char="•"/>
          </a:pPr>
          <a:r>
            <a:rPr lang="en-US" sz="1800" b="0" i="0" dirty="0"/>
            <a:t>File removal from a database</a:t>
          </a:r>
        </a:p>
      </dgm:t>
    </dgm:pt>
    <dgm:pt modelId="{F447FF84-1C06-4108-9931-3303711B96AD}" type="parTrans" cxnId="{9EBF07C1-D469-4C76-9AFF-51E2EAB8ECDC}">
      <dgm:prSet/>
      <dgm:spPr/>
      <dgm:t>
        <a:bodyPr/>
        <a:lstStyle/>
        <a:p>
          <a:endParaRPr lang="en-US"/>
        </a:p>
      </dgm:t>
    </dgm:pt>
    <dgm:pt modelId="{7DE56264-CE59-4F77-B348-E0A5721848FD}" type="sibTrans" cxnId="{9EBF07C1-D469-4C76-9AFF-51E2EAB8ECDC}">
      <dgm:prSet/>
      <dgm:spPr/>
      <dgm:t>
        <a:bodyPr/>
        <a:lstStyle/>
        <a:p>
          <a:endParaRPr lang="en-US"/>
        </a:p>
      </dgm:t>
    </dgm:pt>
    <dgm:pt modelId="{7A20FD35-4C67-43F9-AD09-D198C0833DCA}">
      <dgm:prSet custT="1"/>
      <dgm:spPr/>
      <dgm:t>
        <a:bodyPr/>
        <a:lstStyle/>
        <a:p>
          <a:pPr>
            <a:buFont typeface="Arial" panose="020B0604020202020204" pitchFamily="34" charset="0"/>
            <a:buChar char="•"/>
          </a:pPr>
          <a:r>
            <a:rPr lang="en-US" sz="1800" b="0" i="0" dirty="0"/>
            <a:t>Full or differential database backup</a:t>
          </a:r>
        </a:p>
      </dgm:t>
    </dgm:pt>
    <dgm:pt modelId="{64CF806B-1650-4EEE-AF04-3F5F4A5C94C5}" type="parTrans" cxnId="{2DE3E3B9-4487-462E-B65D-DDAB58E149A5}">
      <dgm:prSet/>
      <dgm:spPr/>
      <dgm:t>
        <a:bodyPr/>
        <a:lstStyle/>
        <a:p>
          <a:endParaRPr lang="en-US"/>
        </a:p>
      </dgm:t>
    </dgm:pt>
    <dgm:pt modelId="{6E20E61F-AA86-4ADC-A3BF-3D78E6B6BFFE}" type="sibTrans" cxnId="{2DE3E3B9-4487-462E-B65D-DDAB58E149A5}">
      <dgm:prSet/>
      <dgm:spPr/>
      <dgm:t>
        <a:bodyPr/>
        <a:lstStyle/>
        <a:p>
          <a:endParaRPr lang="en-US"/>
        </a:p>
      </dgm:t>
    </dgm:pt>
    <dgm:pt modelId="{FDDCF8CF-A99E-4563-BCC6-464A48B639AD}" type="pres">
      <dgm:prSet presAssocID="{E6630CAF-0F7F-4826-8D55-D1CFCE127C3B}" presName="linear" presStyleCnt="0">
        <dgm:presLayoutVars>
          <dgm:animLvl val="lvl"/>
          <dgm:resizeHandles val="exact"/>
        </dgm:presLayoutVars>
      </dgm:prSet>
      <dgm:spPr/>
    </dgm:pt>
    <dgm:pt modelId="{6606BCF8-2C66-41A9-B300-5F06BF4E8B9B}" type="pres">
      <dgm:prSet presAssocID="{640A97A7-3924-4621-AA7F-B3EB4899CBD5}" presName="parentText" presStyleLbl="node1" presStyleIdx="0" presStyleCnt="3">
        <dgm:presLayoutVars>
          <dgm:chMax val="0"/>
          <dgm:bulletEnabled val="1"/>
        </dgm:presLayoutVars>
      </dgm:prSet>
      <dgm:spPr/>
    </dgm:pt>
    <dgm:pt modelId="{E4F89FFE-95F3-439D-B74C-6417384568EF}" type="pres">
      <dgm:prSet presAssocID="{640A97A7-3924-4621-AA7F-B3EB4899CBD5}" presName="childText" presStyleLbl="revTx" presStyleIdx="0" presStyleCnt="1">
        <dgm:presLayoutVars>
          <dgm:bulletEnabled val="1"/>
        </dgm:presLayoutVars>
      </dgm:prSet>
      <dgm:spPr/>
    </dgm:pt>
    <dgm:pt modelId="{94502864-0045-4722-9EC2-FDBE9E7D75F4}" type="pres">
      <dgm:prSet presAssocID="{95363AB8-510E-49EB-A269-EB3EDB574F16}" presName="parentText" presStyleLbl="node1" presStyleIdx="1" presStyleCnt="3">
        <dgm:presLayoutVars>
          <dgm:chMax val="0"/>
          <dgm:bulletEnabled val="1"/>
        </dgm:presLayoutVars>
      </dgm:prSet>
      <dgm:spPr/>
    </dgm:pt>
    <dgm:pt modelId="{254238DB-D146-4051-B959-D31C0C710C45}" type="pres">
      <dgm:prSet presAssocID="{19B42727-DF8B-4279-A04B-FEC3F87A7C55}" presName="spacer" presStyleCnt="0"/>
      <dgm:spPr/>
    </dgm:pt>
    <dgm:pt modelId="{911CB1BE-4400-4979-AA4F-30981F16EECA}" type="pres">
      <dgm:prSet presAssocID="{4C11F950-CA47-44DC-9DAE-14692CD1836C}" presName="parentText" presStyleLbl="node1" presStyleIdx="2" presStyleCnt="3">
        <dgm:presLayoutVars>
          <dgm:chMax val="0"/>
          <dgm:bulletEnabled val="1"/>
        </dgm:presLayoutVars>
      </dgm:prSet>
      <dgm:spPr/>
    </dgm:pt>
  </dgm:ptLst>
  <dgm:cxnLst>
    <dgm:cxn modelId="{2231DA11-2D07-4091-B57E-DBAD8A80E1C6}" type="presOf" srcId="{6A979241-3E76-4589-A679-4F6817CF133C}" destId="{E4F89FFE-95F3-439D-B74C-6417384568EF}" srcOrd="0" destOrd="0" presId="urn:microsoft.com/office/officeart/2005/8/layout/vList2"/>
    <dgm:cxn modelId="{E466921B-35A4-4892-8891-0654ED2B69EC}" srcId="{E6630CAF-0F7F-4826-8D55-D1CFCE127C3B}" destId="{4C11F950-CA47-44DC-9DAE-14692CD1836C}" srcOrd="2" destOrd="0" parTransId="{81F7301D-8412-4D18-B869-F577E3775C16}" sibTransId="{0CF56CFB-B93D-49A3-9B1B-B9F254FAAA75}"/>
    <dgm:cxn modelId="{84EAE02F-9DC4-484F-B467-6E341DAA2B20}" type="presOf" srcId="{E6630CAF-0F7F-4826-8D55-D1CFCE127C3B}" destId="{FDDCF8CF-A99E-4563-BCC6-464A48B639AD}" srcOrd="0" destOrd="0" presId="urn:microsoft.com/office/officeart/2005/8/layout/vList2"/>
    <dgm:cxn modelId="{C33A0D31-D928-4FEB-A3FE-59E4674712E3}" type="presOf" srcId="{7A20FD35-4C67-43F9-AD09-D198C0833DCA}" destId="{E4F89FFE-95F3-439D-B74C-6417384568EF}" srcOrd="0" destOrd="5" presId="urn:microsoft.com/office/officeart/2005/8/layout/vList2"/>
    <dgm:cxn modelId="{EDA4B45C-1E92-4F75-B885-A6566723157A}" srcId="{640A97A7-3924-4621-AA7F-B3EB4899CBD5}" destId="{6A979241-3E76-4589-A679-4F6817CF133C}" srcOrd="0" destOrd="0" parTransId="{63164705-B768-4DA1-8409-814799841693}" sibTransId="{7FA048C0-7F65-4123-9047-1BA27A124D43}"/>
    <dgm:cxn modelId="{93440441-3378-42BC-BACE-2B8D0753C9B6}" type="presOf" srcId="{4C11F950-CA47-44DC-9DAE-14692CD1836C}" destId="{911CB1BE-4400-4979-AA4F-30981F16EECA}" srcOrd="0" destOrd="0" presId="urn:microsoft.com/office/officeart/2005/8/layout/vList2"/>
    <dgm:cxn modelId="{8FF58D4F-918F-4F1B-9247-FC63DB8ECCA5}" type="presOf" srcId="{640A97A7-3924-4621-AA7F-B3EB4899CBD5}" destId="{6606BCF8-2C66-41A9-B300-5F06BF4E8B9B}" srcOrd="0" destOrd="0" presId="urn:microsoft.com/office/officeart/2005/8/layout/vList2"/>
    <dgm:cxn modelId="{2A72E176-20D7-467F-BC8F-A2D9F598E849}" type="presOf" srcId="{835F0E81-6A1A-49AD-9C71-E5C71FFDBB94}" destId="{E4F89FFE-95F3-439D-B74C-6417384568EF}" srcOrd="0" destOrd="1" presId="urn:microsoft.com/office/officeart/2005/8/layout/vList2"/>
    <dgm:cxn modelId="{B400A77E-0ACC-4561-9B31-0D27B1B70C48}" type="presOf" srcId="{4965A708-1D67-45EF-A7A3-D61F3CB99940}" destId="{E4F89FFE-95F3-439D-B74C-6417384568EF}" srcOrd="0" destOrd="3" presId="urn:microsoft.com/office/officeart/2005/8/layout/vList2"/>
    <dgm:cxn modelId="{E53A30B5-D653-4B55-B468-BB9475B7F6FE}" type="presOf" srcId="{CFB1B541-A267-42DA-80EB-484A91B387B1}" destId="{E4F89FFE-95F3-439D-B74C-6417384568EF}" srcOrd="0" destOrd="4" presId="urn:microsoft.com/office/officeart/2005/8/layout/vList2"/>
    <dgm:cxn modelId="{D3430DB9-F02C-48DA-A037-BEE90A93149B}" srcId="{E6630CAF-0F7F-4826-8D55-D1CFCE127C3B}" destId="{640A97A7-3924-4621-AA7F-B3EB4899CBD5}" srcOrd="0" destOrd="0" parTransId="{31B01655-CFD1-4F7D-A713-0774E098B186}" sibTransId="{82338179-4FFD-43B4-A062-6655AFAA9A62}"/>
    <dgm:cxn modelId="{2DE3E3B9-4487-462E-B65D-DDAB58E149A5}" srcId="{640A97A7-3924-4621-AA7F-B3EB4899CBD5}" destId="{7A20FD35-4C67-43F9-AD09-D198C0833DCA}" srcOrd="5" destOrd="0" parTransId="{64CF806B-1650-4EEE-AF04-3F5F4A5C94C5}" sibTransId="{6E20E61F-AA86-4ADC-A3BF-3D78E6B6BFFE}"/>
    <dgm:cxn modelId="{4DAF52BC-F9C9-47C8-BE7F-0FEE9C603E42}" type="presOf" srcId="{95363AB8-510E-49EB-A269-EB3EDB574F16}" destId="{94502864-0045-4722-9EC2-FDBE9E7D75F4}" srcOrd="0" destOrd="0" presId="urn:microsoft.com/office/officeart/2005/8/layout/vList2"/>
    <dgm:cxn modelId="{802A0CBE-A8C2-4181-A193-D39BAD04D56F}" type="presOf" srcId="{0995874F-3759-4F69-AC5F-425F905FADFE}" destId="{E4F89FFE-95F3-439D-B74C-6417384568EF}" srcOrd="0" destOrd="2" presId="urn:microsoft.com/office/officeart/2005/8/layout/vList2"/>
    <dgm:cxn modelId="{9EBF07C1-D469-4C76-9AFF-51E2EAB8ECDC}" srcId="{640A97A7-3924-4621-AA7F-B3EB4899CBD5}" destId="{CFB1B541-A267-42DA-80EB-484A91B387B1}" srcOrd="4" destOrd="0" parTransId="{F447FF84-1C06-4108-9931-3303711B96AD}" sibTransId="{7DE56264-CE59-4F77-B348-E0A5721848FD}"/>
    <dgm:cxn modelId="{E431F7E1-3D6D-4F0E-AB31-90B897F635A2}" srcId="{640A97A7-3924-4621-AA7F-B3EB4899CBD5}" destId="{0995874F-3759-4F69-AC5F-425F905FADFE}" srcOrd="2" destOrd="0" parTransId="{F5910C18-CFC5-4094-813E-8D053B025B9B}" sibTransId="{C3F68893-EBBC-4645-A4CE-4B26E672B47C}"/>
    <dgm:cxn modelId="{34C1BAE7-4684-4FF8-8E7A-CC82C1B71AAF}" srcId="{640A97A7-3924-4621-AA7F-B3EB4899CBD5}" destId="{4965A708-1D67-45EF-A7A3-D61F3CB99940}" srcOrd="3" destOrd="0" parTransId="{AE046CD4-9EC0-4473-8E74-D23FC641E79C}" sibTransId="{FBD15ADF-BB49-44B6-9071-E50002D9CEAF}"/>
    <dgm:cxn modelId="{6F60B2F9-73F8-4210-8F09-504C5DA7A9B9}" srcId="{640A97A7-3924-4621-AA7F-B3EB4899CBD5}" destId="{835F0E81-6A1A-49AD-9C71-E5C71FFDBB94}" srcOrd="1" destOrd="0" parTransId="{AE6CE765-83E1-4F23-9FFD-0A81DD896E32}" sibTransId="{99D29454-4435-4703-A7DD-4207376157C9}"/>
    <dgm:cxn modelId="{E51DA0FC-DA65-42ED-AE26-665191EA59C4}" srcId="{E6630CAF-0F7F-4826-8D55-D1CFCE127C3B}" destId="{95363AB8-510E-49EB-A269-EB3EDB574F16}" srcOrd="1" destOrd="0" parTransId="{431DDC0C-3F1F-47C4-9743-C3FAFBCBABD4}" sibTransId="{19B42727-DF8B-4279-A04B-FEC3F87A7C55}"/>
    <dgm:cxn modelId="{D865C550-A6C4-436E-A384-146DE5E79887}" type="presParOf" srcId="{FDDCF8CF-A99E-4563-BCC6-464A48B639AD}" destId="{6606BCF8-2C66-41A9-B300-5F06BF4E8B9B}" srcOrd="0" destOrd="0" presId="urn:microsoft.com/office/officeart/2005/8/layout/vList2"/>
    <dgm:cxn modelId="{0BA2C9ED-3150-4F89-841B-68F899AB3AC4}" type="presParOf" srcId="{FDDCF8CF-A99E-4563-BCC6-464A48B639AD}" destId="{E4F89FFE-95F3-439D-B74C-6417384568EF}" srcOrd="1" destOrd="0" presId="urn:microsoft.com/office/officeart/2005/8/layout/vList2"/>
    <dgm:cxn modelId="{55F5879A-8034-4895-9A58-221D5F64E9B2}" type="presParOf" srcId="{FDDCF8CF-A99E-4563-BCC6-464A48B639AD}" destId="{94502864-0045-4722-9EC2-FDBE9E7D75F4}" srcOrd="2" destOrd="0" presId="urn:microsoft.com/office/officeart/2005/8/layout/vList2"/>
    <dgm:cxn modelId="{75916AAB-D0C4-401F-A4FE-E4123B501F5A}" type="presParOf" srcId="{FDDCF8CF-A99E-4563-BCC6-464A48B639AD}" destId="{254238DB-D146-4051-B959-D31C0C710C45}" srcOrd="3" destOrd="0" presId="urn:microsoft.com/office/officeart/2005/8/layout/vList2"/>
    <dgm:cxn modelId="{9A8E7F1B-6954-4A04-B975-1361B0343BE4}" type="presParOf" srcId="{FDDCF8CF-A99E-4563-BCC6-464A48B639AD}" destId="{911CB1BE-4400-4979-AA4F-30981F16EECA}" srcOrd="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C6D472A2-6BD3-4804-80D3-474B04097C57}" type="doc">
      <dgm:prSet loTypeId="urn:microsoft.com/office/officeart/2018/5/layout/IconCircleLabelList" loCatId="icon" qsTypeId="urn:microsoft.com/office/officeart/2005/8/quickstyle/simple1" qsCatId="simple" csTypeId="urn:microsoft.com/office/officeart/2005/8/colors/accent2_2" csCatId="accent2" phldr="1"/>
      <dgm:spPr/>
      <dgm:t>
        <a:bodyPr/>
        <a:lstStyle/>
        <a:p>
          <a:endParaRPr lang="en-US"/>
        </a:p>
      </dgm:t>
    </dgm:pt>
    <dgm:pt modelId="{9CFE6025-F8E6-4C9F-B03F-B706254F1D4C}">
      <dgm:prSet custT="1"/>
      <dgm:spPr/>
      <dgm:t>
        <a:bodyPr/>
        <a:lstStyle/>
        <a:p>
          <a:pPr>
            <a:defRPr cap="all"/>
          </a:pPr>
          <a:r>
            <a:rPr lang="en-US" sz="1800" dirty="0"/>
            <a:t>Performance Monitor</a:t>
          </a:r>
        </a:p>
      </dgm:t>
    </dgm:pt>
    <dgm:pt modelId="{E41AF1C5-030A-4A8B-ACF0-B0E80048561D}" type="parTrans" cxnId="{40225C89-747C-489F-B217-CB5AEF9D622D}">
      <dgm:prSet/>
      <dgm:spPr/>
      <dgm:t>
        <a:bodyPr/>
        <a:lstStyle/>
        <a:p>
          <a:endParaRPr lang="en-US"/>
        </a:p>
      </dgm:t>
    </dgm:pt>
    <dgm:pt modelId="{7B2EE3E4-7EE9-42A7-A91C-7D519B66B098}" type="sibTrans" cxnId="{40225C89-747C-489F-B217-CB5AEF9D622D}">
      <dgm:prSet/>
      <dgm:spPr/>
      <dgm:t>
        <a:bodyPr/>
        <a:lstStyle/>
        <a:p>
          <a:endParaRPr lang="en-US"/>
        </a:p>
      </dgm:t>
    </dgm:pt>
    <dgm:pt modelId="{DCCB51D2-8314-4E48-B9C1-22E9BF790E8D}">
      <dgm:prSet custT="1"/>
      <dgm:spPr/>
      <dgm:t>
        <a:bodyPr/>
        <a:lstStyle/>
        <a:p>
          <a:pPr>
            <a:defRPr cap="all"/>
          </a:pPr>
          <a:r>
            <a:rPr lang="en-US" sz="1800" dirty="0"/>
            <a:t>DBCC MEMORYSTATUS</a:t>
          </a:r>
        </a:p>
      </dgm:t>
    </dgm:pt>
    <dgm:pt modelId="{FB0663E3-DB46-4B19-A4A1-1DAECB6BB5D4}" type="parTrans" cxnId="{5D9F907F-29A3-400F-B541-EA792BBEFA67}">
      <dgm:prSet/>
      <dgm:spPr/>
      <dgm:t>
        <a:bodyPr/>
        <a:lstStyle/>
        <a:p>
          <a:endParaRPr lang="en-US"/>
        </a:p>
      </dgm:t>
    </dgm:pt>
    <dgm:pt modelId="{FC01D356-5C9A-41F7-A0A7-478D11D0AEA3}" type="sibTrans" cxnId="{5D9F907F-29A3-400F-B541-EA792BBEFA67}">
      <dgm:prSet/>
      <dgm:spPr/>
      <dgm:t>
        <a:bodyPr/>
        <a:lstStyle/>
        <a:p>
          <a:endParaRPr lang="en-US"/>
        </a:p>
      </dgm:t>
    </dgm:pt>
    <dgm:pt modelId="{5BD5F3E6-B538-491A-8376-D9B85814327B}">
      <dgm:prSet custT="1"/>
      <dgm:spPr/>
      <dgm:t>
        <a:bodyPr/>
        <a:lstStyle/>
        <a:p>
          <a:pPr>
            <a:defRPr cap="all"/>
          </a:pPr>
          <a:r>
            <a:rPr lang="en-US" sz="1800" dirty="0"/>
            <a:t>Dynamic Management Views</a:t>
          </a:r>
        </a:p>
      </dgm:t>
    </dgm:pt>
    <dgm:pt modelId="{7FDE10EC-3CA1-480F-ACC9-5986B86EC43B}" type="parTrans" cxnId="{6F8DE888-904C-450E-8A7D-657D9A45AA2C}">
      <dgm:prSet/>
      <dgm:spPr/>
      <dgm:t>
        <a:bodyPr/>
        <a:lstStyle/>
        <a:p>
          <a:endParaRPr lang="en-US"/>
        </a:p>
      </dgm:t>
    </dgm:pt>
    <dgm:pt modelId="{640220F4-F1D9-4E37-98EC-8D9D91788E52}" type="sibTrans" cxnId="{6F8DE888-904C-450E-8A7D-657D9A45AA2C}">
      <dgm:prSet/>
      <dgm:spPr/>
      <dgm:t>
        <a:bodyPr/>
        <a:lstStyle/>
        <a:p>
          <a:endParaRPr lang="en-US"/>
        </a:p>
      </dgm:t>
    </dgm:pt>
    <dgm:pt modelId="{03BA55B7-EA93-43D4-8547-93E63B856773}">
      <dgm:prSet custT="1"/>
      <dgm:spPr/>
      <dgm:t>
        <a:bodyPr/>
        <a:lstStyle/>
        <a:p>
          <a:pPr>
            <a:defRPr cap="all"/>
          </a:pPr>
          <a:r>
            <a:rPr lang="en-US" sz="1800" dirty="0"/>
            <a:t>Ring Buffers with System Health data (status and OOM)</a:t>
          </a:r>
        </a:p>
      </dgm:t>
    </dgm:pt>
    <dgm:pt modelId="{85647E0E-56C5-4900-8DEB-5C685BD65829}" type="parTrans" cxnId="{E8A9D796-3443-4839-BA74-BEDB8029BB5F}">
      <dgm:prSet/>
      <dgm:spPr/>
      <dgm:t>
        <a:bodyPr/>
        <a:lstStyle/>
        <a:p>
          <a:endParaRPr lang="en-US"/>
        </a:p>
      </dgm:t>
    </dgm:pt>
    <dgm:pt modelId="{E2C0E3D3-3473-4073-B3A3-182198ED007D}" type="sibTrans" cxnId="{E8A9D796-3443-4839-BA74-BEDB8029BB5F}">
      <dgm:prSet/>
      <dgm:spPr/>
      <dgm:t>
        <a:bodyPr/>
        <a:lstStyle/>
        <a:p>
          <a:endParaRPr lang="en-US"/>
        </a:p>
      </dgm:t>
    </dgm:pt>
    <dgm:pt modelId="{2968A0A4-0E72-4B55-BDCC-614E81A155BF}">
      <dgm:prSet/>
      <dgm:spPr/>
      <dgm:t>
        <a:bodyPr/>
        <a:lstStyle/>
        <a:p>
          <a:pPr>
            <a:defRPr cap="all"/>
          </a:pPr>
          <a:r>
            <a:rPr lang="en-US" dirty="0"/>
            <a:t>SQL Server Errorlog (OOM with DBCC MEMORYSTATUS dump)</a:t>
          </a:r>
        </a:p>
      </dgm:t>
    </dgm:pt>
    <dgm:pt modelId="{65991342-3D14-4848-B0A3-342AF6530D83}" type="parTrans" cxnId="{CFE688C6-3D4D-49EB-B59F-32D3CF097362}">
      <dgm:prSet/>
      <dgm:spPr/>
      <dgm:t>
        <a:bodyPr/>
        <a:lstStyle/>
        <a:p>
          <a:endParaRPr lang="en-US"/>
        </a:p>
      </dgm:t>
    </dgm:pt>
    <dgm:pt modelId="{89E8A9BB-181D-4A21-BF56-D8C2ABA332DE}" type="sibTrans" cxnId="{CFE688C6-3D4D-49EB-B59F-32D3CF097362}">
      <dgm:prSet/>
      <dgm:spPr/>
      <dgm:t>
        <a:bodyPr/>
        <a:lstStyle/>
        <a:p>
          <a:endParaRPr lang="en-US"/>
        </a:p>
      </dgm:t>
    </dgm:pt>
    <dgm:pt modelId="{2DD66C50-8218-4138-988B-5D796EA87C37}" type="pres">
      <dgm:prSet presAssocID="{C6D472A2-6BD3-4804-80D3-474B04097C57}" presName="root" presStyleCnt="0">
        <dgm:presLayoutVars>
          <dgm:dir/>
          <dgm:resizeHandles val="exact"/>
        </dgm:presLayoutVars>
      </dgm:prSet>
      <dgm:spPr/>
    </dgm:pt>
    <dgm:pt modelId="{5C068259-1D2F-4520-B002-E586FE0A2E9A}" type="pres">
      <dgm:prSet presAssocID="{9CFE6025-F8E6-4C9F-B03F-B706254F1D4C}" presName="compNode" presStyleCnt="0"/>
      <dgm:spPr/>
    </dgm:pt>
    <dgm:pt modelId="{9EA61B06-4645-4EC1-A8DD-AAE2A99E0F86}" type="pres">
      <dgm:prSet presAssocID="{9CFE6025-F8E6-4C9F-B03F-B706254F1D4C}" presName="iconBgRect" presStyleLbl="bgShp" presStyleIdx="0" presStyleCnt="5"/>
      <dgm:spPr/>
    </dgm:pt>
    <dgm:pt modelId="{143ECA43-EF3C-4894-A704-AA634EA7D407}" type="pres">
      <dgm:prSet presAssocID="{9CFE6025-F8E6-4C9F-B03F-B706254F1D4C}"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Gauge"/>
        </a:ext>
      </dgm:extLst>
    </dgm:pt>
    <dgm:pt modelId="{155E12A9-6586-4186-A2AF-E8D4CC6D2240}" type="pres">
      <dgm:prSet presAssocID="{9CFE6025-F8E6-4C9F-B03F-B706254F1D4C}" presName="spaceRect" presStyleCnt="0"/>
      <dgm:spPr/>
    </dgm:pt>
    <dgm:pt modelId="{CB77F2F1-5DAA-4D8B-8E98-A18432586026}" type="pres">
      <dgm:prSet presAssocID="{9CFE6025-F8E6-4C9F-B03F-B706254F1D4C}" presName="textRect" presStyleLbl="revTx" presStyleIdx="0" presStyleCnt="5">
        <dgm:presLayoutVars>
          <dgm:chMax val="1"/>
          <dgm:chPref val="1"/>
        </dgm:presLayoutVars>
      </dgm:prSet>
      <dgm:spPr/>
    </dgm:pt>
    <dgm:pt modelId="{61E2FCB2-4D1A-49F1-A12A-4C7B253F70C5}" type="pres">
      <dgm:prSet presAssocID="{7B2EE3E4-7EE9-42A7-A91C-7D519B66B098}" presName="sibTrans" presStyleCnt="0"/>
      <dgm:spPr/>
    </dgm:pt>
    <dgm:pt modelId="{ED794AD7-9F07-4265-83EF-75F83F271B0E}" type="pres">
      <dgm:prSet presAssocID="{DCCB51D2-8314-4E48-B9C1-22E9BF790E8D}" presName="compNode" presStyleCnt="0"/>
      <dgm:spPr/>
    </dgm:pt>
    <dgm:pt modelId="{3429DA40-DDCA-4ACC-9295-1C9E4C132533}" type="pres">
      <dgm:prSet presAssocID="{DCCB51D2-8314-4E48-B9C1-22E9BF790E8D}" presName="iconBgRect" presStyleLbl="bgShp" presStyleIdx="1" presStyleCnt="5"/>
      <dgm:spPr/>
    </dgm:pt>
    <dgm:pt modelId="{C16FBC8C-0908-4FC6-AA8A-CBAC4ADA9E51}" type="pres">
      <dgm:prSet presAssocID="{DCCB51D2-8314-4E48-B9C1-22E9BF790E8D}"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Glue"/>
        </a:ext>
      </dgm:extLst>
    </dgm:pt>
    <dgm:pt modelId="{2D2C4D9F-81C9-437D-AF60-C84CA02ADD2B}" type="pres">
      <dgm:prSet presAssocID="{DCCB51D2-8314-4E48-B9C1-22E9BF790E8D}" presName="spaceRect" presStyleCnt="0"/>
      <dgm:spPr/>
    </dgm:pt>
    <dgm:pt modelId="{400B18D4-4DEA-4535-A88C-96E9D551F222}" type="pres">
      <dgm:prSet presAssocID="{DCCB51D2-8314-4E48-B9C1-22E9BF790E8D}" presName="textRect" presStyleLbl="revTx" presStyleIdx="1" presStyleCnt="5">
        <dgm:presLayoutVars>
          <dgm:chMax val="1"/>
          <dgm:chPref val="1"/>
        </dgm:presLayoutVars>
      </dgm:prSet>
      <dgm:spPr/>
    </dgm:pt>
    <dgm:pt modelId="{C5B9E08A-DFD5-411E-B212-FDDBC2008461}" type="pres">
      <dgm:prSet presAssocID="{FC01D356-5C9A-41F7-A0A7-478D11D0AEA3}" presName="sibTrans" presStyleCnt="0"/>
      <dgm:spPr/>
    </dgm:pt>
    <dgm:pt modelId="{7D1651DE-F6CA-4FE7-BFD1-7C9CDEF30373}" type="pres">
      <dgm:prSet presAssocID="{5BD5F3E6-B538-491A-8376-D9B85814327B}" presName="compNode" presStyleCnt="0"/>
      <dgm:spPr/>
    </dgm:pt>
    <dgm:pt modelId="{8238A461-D1CE-4CBC-9288-0C1E1A1E3C07}" type="pres">
      <dgm:prSet presAssocID="{5BD5F3E6-B538-491A-8376-D9B85814327B}" presName="iconBgRect" presStyleLbl="bgShp" presStyleIdx="2" presStyleCnt="5"/>
      <dgm:spPr/>
    </dgm:pt>
    <dgm:pt modelId="{F21E761C-A97F-4096-A2E6-144E16F3B304}" type="pres">
      <dgm:prSet presAssocID="{5BD5F3E6-B538-491A-8376-D9B85814327B}"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Eye"/>
        </a:ext>
      </dgm:extLst>
    </dgm:pt>
    <dgm:pt modelId="{D283DA03-C898-4D89-A42F-3995CC8C3F21}" type="pres">
      <dgm:prSet presAssocID="{5BD5F3E6-B538-491A-8376-D9B85814327B}" presName="spaceRect" presStyleCnt="0"/>
      <dgm:spPr/>
    </dgm:pt>
    <dgm:pt modelId="{E1A4480B-C26D-4900-B40C-2981F9E29631}" type="pres">
      <dgm:prSet presAssocID="{5BD5F3E6-B538-491A-8376-D9B85814327B}" presName="textRect" presStyleLbl="revTx" presStyleIdx="2" presStyleCnt="5">
        <dgm:presLayoutVars>
          <dgm:chMax val="1"/>
          <dgm:chPref val="1"/>
        </dgm:presLayoutVars>
      </dgm:prSet>
      <dgm:spPr/>
    </dgm:pt>
    <dgm:pt modelId="{E1DBAC0C-5205-4F8C-9AFD-8F3E71C3DC73}" type="pres">
      <dgm:prSet presAssocID="{640220F4-F1D9-4E37-98EC-8D9D91788E52}" presName="sibTrans" presStyleCnt="0"/>
      <dgm:spPr/>
    </dgm:pt>
    <dgm:pt modelId="{5BF2B96A-E8B4-4793-A8EB-052C0C412956}" type="pres">
      <dgm:prSet presAssocID="{03BA55B7-EA93-43D4-8547-93E63B856773}" presName="compNode" presStyleCnt="0"/>
      <dgm:spPr/>
    </dgm:pt>
    <dgm:pt modelId="{33A44658-89D0-4837-BA3D-6FB4105D4897}" type="pres">
      <dgm:prSet presAssocID="{03BA55B7-EA93-43D4-8547-93E63B856773}" presName="iconBgRect" presStyleLbl="bgShp" presStyleIdx="3" presStyleCnt="5"/>
      <dgm:spPr/>
    </dgm:pt>
    <dgm:pt modelId="{0C3786B4-123F-4F3B-88B3-65D36E0826C0}" type="pres">
      <dgm:prSet presAssocID="{03BA55B7-EA93-43D4-8547-93E63B856773}"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keleton"/>
        </a:ext>
      </dgm:extLst>
    </dgm:pt>
    <dgm:pt modelId="{BF00468E-948D-4C85-9E64-1DC130AF42EA}" type="pres">
      <dgm:prSet presAssocID="{03BA55B7-EA93-43D4-8547-93E63B856773}" presName="spaceRect" presStyleCnt="0"/>
      <dgm:spPr/>
    </dgm:pt>
    <dgm:pt modelId="{8694E2D8-B519-4A53-A508-21AB4137B6E5}" type="pres">
      <dgm:prSet presAssocID="{03BA55B7-EA93-43D4-8547-93E63B856773}" presName="textRect" presStyleLbl="revTx" presStyleIdx="3" presStyleCnt="5">
        <dgm:presLayoutVars>
          <dgm:chMax val="1"/>
          <dgm:chPref val="1"/>
        </dgm:presLayoutVars>
      </dgm:prSet>
      <dgm:spPr/>
    </dgm:pt>
    <dgm:pt modelId="{B63E3408-BF3A-4571-82B9-B02150C7F6F7}" type="pres">
      <dgm:prSet presAssocID="{E2C0E3D3-3473-4073-B3A3-182198ED007D}" presName="sibTrans" presStyleCnt="0"/>
      <dgm:spPr/>
    </dgm:pt>
    <dgm:pt modelId="{C78E38D8-875C-4F38-BE43-C23658061BC8}" type="pres">
      <dgm:prSet presAssocID="{2968A0A4-0E72-4B55-BDCC-614E81A155BF}" presName="compNode" presStyleCnt="0"/>
      <dgm:spPr/>
    </dgm:pt>
    <dgm:pt modelId="{8474BAFC-6A56-4012-830F-323CEF887216}" type="pres">
      <dgm:prSet presAssocID="{2968A0A4-0E72-4B55-BDCC-614E81A155BF}" presName="iconBgRect" presStyleLbl="bgShp" presStyleIdx="4" presStyleCnt="5"/>
      <dgm:spPr/>
    </dgm:pt>
    <dgm:pt modelId="{0E7E9D6D-F1E2-4CF7-A6E3-ACB723AC0680}" type="pres">
      <dgm:prSet presAssocID="{2968A0A4-0E72-4B55-BDCC-614E81A155BF}"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Processor"/>
        </a:ext>
      </dgm:extLst>
    </dgm:pt>
    <dgm:pt modelId="{65733F01-E544-443A-A327-9BE84ED4008F}" type="pres">
      <dgm:prSet presAssocID="{2968A0A4-0E72-4B55-BDCC-614E81A155BF}" presName="spaceRect" presStyleCnt="0"/>
      <dgm:spPr/>
    </dgm:pt>
    <dgm:pt modelId="{B69344CA-D8D6-455B-BF81-8F71F279C8A4}" type="pres">
      <dgm:prSet presAssocID="{2968A0A4-0E72-4B55-BDCC-614E81A155BF}" presName="textRect" presStyleLbl="revTx" presStyleIdx="4" presStyleCnt="5">
        <dgm:presLayoutVars>
          <dgm:chMax val="1"/>
          <dgm:chPref val="1"/>
        </dgm:presLayoutVars>
      </dgm:prSet>
      <dgm:spPr/>
    </dgm:pt>
  </dgm:ptLst>
  <dgm:cxnLst>
    <dgm:cxn modelId="{20D29947-EA33-4F7D-AA44-63A4F2CA6B7A}" type="presOf" srcId="{03BA55B7-EA93-43D4-8547-93E63B856773}" destId="{8694E2D8-B519-4A53-A508-21AB4137B6E5}" srcOrd="0" destOrd="0" presId="urn:microsoft.com/office/officeart/2018/5/layout/IconCircleLabelList"/>
    <dgm:cxn modelId="{5D0FA155-088E-4F94-A0F4-B0420AF51EE2}" type="presOf" srcId="{C6D472A2-6BD3-4804-80D3-474B04097C57}" destId="{2DD66C50-8218-4138-988B-5D796EA87C37}" srcOrd="0" destOrd="0" presId="urn:microsoft.com/office/officeart/2018/5/layout/IconCircleLabelList"/>
    <dgm:cxn modelId="{BC47607B-9364-4A20-A2E6-6041F6AB9A88}" type="presOf" srcId="{2968A0A4-0E72-4B55-BDCC-614E81A155BF}" destId="{B69344CA-D8D6-455B-BF81-8F71F279C8A4}" srcOrd="0" destOrd="0" presId="urn:microsoft.com/office/officeart/2018/5/layout/IconCircleLabelList"/>
    <dgm:cxn modelId="{092A767E-52F8-4220-B55B-931B072121FD}" type="presOf" srcId="{9CFE6025-F8E6-4C9F-B03F-B706254F1D4C}" destId="{CB77F2F1-5DAA-4D8B-8E98-A18432586026}" srcOrd="0" destOrd="0" presId="urn:microsoft.com/office/officeart/2018/5/layout/IconCircleLabelList"/>
    <dgm:cxn modelId="{5D9F907F-29A3-400F-B541-EA792BBEFA67}" srcId="{C6D472A2-6BD3-4804-80D3-474B04097C57}" destId="{DCCB51D2-8314-4E48-B9C1-22E9BF790E8D}" srcOrd="1" destOrd="0" parTransId="{FB0663E3-DB46-4B19-A4A1-1DAECB6BB5D4}" sibTransId="{FC01D356-5C9A-41F7-A0A7-478D11D0AEA3}"/>
    <dgm:cxn modelId="{6F8DE888-904C-450E-8A7D-657D9A45AA2C}" srcId="{C6D472A2-6BD3-4804-80D3-474B04097C57}" destId="{5BD5F3E6-B538-491A-8376-D9B85814327B}" srcOrd="2" destOrd="0" parTransId="{7FDE10EC-3CA1-480F-ACC9-5986B86EC43B}" sibTransId="{640220F4-F1D9-4E37-98EC-8D9D91788E52}"/>
    <dgm:cxn modelId="{40225C89-747C-489F-B217-CB5AEF9D622D}" srcId="{C6D472A2-6BD3-4804-80D3-474B04097C57}" destId="{9CFE6025-F8E6-4C9F-B03F-B706254F1D4C}" srcOrd="0" destOrd="0" parTransId="{E41AF1C5-030A-4A8B-ACF0-B0E80048561D}" sibTransId="{7B2EE3E4-7EE9-42A7-A91C-7D519B66B098}"/>
    <dgm:cxn modelId="{E8A9D796-3443-4839-BA74-BEDB8029BB5F}" srcId="{C6D472A2-6BD3-4804-80D3-474B04097C57}" destId="{03BA55B7-EA93-43D4-8547-93E63B856773}" srcOrd="3" destOrd="0" parTransId="{85647E0E-56C5-4900-8DEB-5C685BD65829}" sibTransId="{E2C0E3D3-3473-4073-B3A3-182198ED007D}"/>
    <dgm:cxn modelId="{CFE688C6-3D4D-49EB-B59F-32D3CF097362}" srcId="{C6D472A2-6BD3-4804-80D3-474B04097C57}" destId="{2968A0A4-0E72-4B55-BDCC-614E81A155BF}" srcOrd="4" destOrd="0" parTransId="{65991342-3D14-4848-B0A3-342AF6530D83}" sibTransId="{89E8A9BB-181D-4A21-BF56-D8C2ABA332DE}"/>
    <dgm:cxn modelId="{22623EC9-F3C9-42BA-9BD6-D8AE5264A348}" type="presOf" srcId="{5BD5F3E6-B538-491A-8376-D9B85814327B}" destId="{E1A4480B-C26D-4900-B40C-2981F9E29631}" srcOrd="0" destOrd="0" presId="urn:microsoft.com/office/officeart/2018/5/layout/IconCircleLabelList"/>
    <dgm:cxn modelId="{94899BF9-87D4-463B-834C-120134150C96}" type="presOf" srcId="{DCCB51D2-8314-4E48-B9C1-22E9BF790E8D}" destId="{400B18D4-4DEA-4535-A88C-96E9D551F222}" srcOrd="0" destOrd="0" presId="urn:microsoft.com/office/officeart/2018/5/layout/IconCircleLabelList"/>
    <dgm:cxn modelId="{A998854E-1882-446A-8224-6C5E715C500E}" type="presParOf" srcId="{2DD66C50-8218-4138-988B-5D796EA87C37}" destId="{5C068259-1D2F-4520-B002-E586FE0A2E9A}" srcOrd="0" destOrd="0" presId="urn:microsoft.com/office/officeart/2018/5/layout/IconCircleLabelList"/>
    <dgm:cxn modelId="{700921F6-B0C7-4D43-8F33-AFB33ACBB383}" type="presParOf" srcId="{5C068259-1D2F-4520-B002-E586FE0A2E9A}" destId="{9EA61B06-4645-4EC1-A8DD-AAE2A99E0F86}" srcOrd="0" destOrd="0" presId="urn:microsoft.com/office/officeart/2018/5/layout/IconCircleLabelList"/>
    <dgm:cxn modelId="{4ED9D054-CB6A-4A6F-8539-FD6E9D257374}" type="presParOf" srcId="{5C068259-1D2F-4520-B002-E586FE0A2E9A}" destId="{143ECA43-EF3C-4894-A704-AA634EA7D407}" srcOrd="1" destOrd="0" presId="urn:microsoft.com/office/officeart/2018/5/layout/IconCircleLabelList"/>
    <dgm:cxn modelId="{742ABA55-C229-444B-8A9D-99CD5C362536}" type="presParOf" srcId="{5C068259-1D2F-4520-B002-E586FE0A2E9A}" destId="{155E12A9-6586-4186-A2AF-E8D4CC6D2240}" srcOrd="2" destOrd="0" presId="urn:microsoft.com/office/officeart/2018/5/layout/IconCircleLabelList"/>
    <dgm:cxn modelId="{103CF08D-EEE0-4B49-850E-E1C2D3C93ED9}" type="presParOf" srcId="{5C068259-1D2F-4520-B002-E586FE0A2E9A}" destId="{CB77F2F1-5DAA-4D8B-8E98-A18432586026}" srcOrd="3" destOrd="0" presId="urn:microsoft.com/office/officeart/2018/5/layout/IconCircleLabelList"/>
    <dgm:cxn modelId="{388E6882-6675-44FF-B50D-C80605B68FD0}" type="presParOf" srcId="{2DD66C50-8218-4138-988B-5D796EA87C37}" destId="{61E2FCB2-4D1A-49F1-A12A-4C7B253F70C5}" srcOrd="1" destOrd="0" presId="urn:microsoft.com/office/officeart/2018/5/layout/IconCircleLabelList"/>
    <dgm:cxn modelId="{81A5AEEF-6061-46B9-9D43-F06FEC78DCB2}" type="presParOf" srcId="{2DD66C50-8218-4138-988B-5D796EA87C37}" destId="{ED794AD7-9F07-4265-83EF-75F83F271B0E}" srcOrd="2" destOrd="0" presId="urn:microsoft.com/office/officeart/2018/5/layout/IconCircleLabelList"/>
    <dgm:cxn modelId="{DB8939FC-D29F-4FF3-B7B6-8E560F107718}" type="presParOf" srcId="{ED794AD7-9F07-4265-83EF-75F83F271B0E}" destId="{3429DA40-DDCA-4ACC-9295-1C9E4C132533}" srcOrd="0" destOrd="0" presId="urn:microsoft.com/office/officeart/2018/5/layout/IconCircleLabelList"/>
    <dgm:cxn modelId="{F0266DA1-FE79-4C38-8D32-60CEB2AAA263}" type="presParOf" srcId="{ED794AD7-9F07-4265-83EF-75F83F271B0E}" destId="{C16FBC8C-0908-4FC6-AA8A-CBAC4ADA9E51}" srcOrd="1" destOrd="0" presId="urn:microsoft.com/office/officeart/2018/5/layout/IconCircleLabelList"/>
    <dgm:cxn modelId="{0EC53C8E-7347-4569-9BCF-B39F1CA7B239}" type="presParOf" srcId="{ED794AD7-9F07-4265-83EF-75F83F271B0E}" destId="{2D2C4D9F-81C9-437D-AF60-C84CA02ADD2B}" srcOrd="2" destOrd="0" presId="urn:microsoft.com/office/officeart/2018/5/layout/IconCircleLabelList"/>
    <dgm:cxn modelId="{7ECAFDE3-E7D8-4BC8-9095-2B2C73D23EB8}" type="presParOf" srcId="{ED794AD7-9F07-4265-83EF-75F83F271B0E}" destId="{400B18D4-4DEA-4535-A88C-96E9D551F222}" srcOrd="3" destOrd="0" presId="urn:microsoft.com/office/officeart/2018/5/layout/IconCircleLabelList"/>
    <dgm:cxn modelId="{62075624-5BE6-4EAE-880A-98BE6237DA19}" type="presParOf" srcId="{2DD66C50-8218-4138-988B-5D796EA87C37}" destId="{C5B9E08A-DFD5-411E-B212-FDDBC2008461}" srcOrd="3" destOrd="0" presId="urn:microsoft.com/office/officeart/2018/5/layout/IconCircleLabelList"/>
    <dgm:cxn modelId="{590E8776-A1CE-4C0C-941D-4B8AD67E6752}" type="presParOf" srcId="{2DD66C50-8218-4138-988B-5D796EA87C37}" destId="{7D1651DE-F6CA-4FE7-BFD1-7C9CDEF30373}" srcOrd="4" destOrd="0" presId="urn:microsoft.com/office/officeart/2018/5/layout/IconCircleLabelList"/>
    <dgm:cxn modelId="{D3223208-3FD6-4D1B-A72B-D77A36BA2FE7}" type="presParOf" srcId="{7D1651DE-F6CA-4FE7-BFD1-7C9CDEF30373}" destId="{8238A461-D1CE-4CBC-9288-0C1E1A1E3C07}" srcOrd="0" destOrd="0" presId="urn:microsoft.com/office/officeart/2018/5/layout/IconCircleLabelList"/>
    <dgm:cxn modelId="{0FEFED2A-D695-4305-8662-993458F0DE0D}" type="presParOf" srcId="{7D1651DE-F6CA-4FE7-BFD1-7C9CDEF30373}" destId="{F21E761C-A97F-4096-A2E6-144E16F3B304}" srcOrd="1" destOrd="0" presId="urn:microsoft.com/office/officeart/2018/5/layout/IconCircleLabelList"/>
    <dgm:cxn modelId="{F56C61C5-12AE-4689-A961-88DE779EC1EC}" type="presParOf" srcId="{7D1651DE-F6CA-4FE7-BFD1-7C9CDEF30373}" destId="{D283DA03-C898-4D89-A42F-3995CC8C3F21}" srcOrd="2" destOrd="0" presId="urn:microsoft.com/office/officeart/2018/5/layout/IconCircleLabelList"/>
    <dgm:cxn modelId="{B22C1116-80AD-4E83-9DAA-41DBCB70A344}" type="presParOf" srcId="{7D1651DE-F6CA-4FE7-BFD1-7C9CDEF30373}" destId="{E1A4480B-C26D-4900-B40C-2981F9E29631}" srcOrd="3" destOrd="0" presId="urn:microsoft.com/office/officeart/2018/5/layout/IconCircleLabelList"/>
    <dgm:cxn modelId="{F312796F-6D3D-4DDE-8232-AB061ECD458F}" type="presParOf" srcId="{2DD66C50-8218-4138-988B-5D796EA87C37}" destId="{E1DBAC0C-5205-4F8C-9AFD-8F3E71C3DC73}" srcOrd="5" destOrd="0" presId="urn:microsoft.com/office/officeart/2018/5/layout/IconCircleLabelList"/>
    <dgm:cxn modelId="{7214AA7F-1F7D-4525-A856-7AD15071D4EB}" type="presParOf" srcId="{2DD66C50-8218-4138-988B-5D796EA87C37}" destId="{5BF2B96A-E8B4-4793-A8EB-052C0C412956}" srcOrd="6" destOrd="0" presId="urn:microsoft.com/office/officeart/2018/5/layout/IconCircleLabelList"/>
    <dgm:cxn modelId="{6D004E0F-2642-4B9D-9BF2-291B500BCE15}" type="presParOf" srcId="{5BF2B96A-E8B4-4793-A8EB-052C0C412956}" destId="{33A44658-89D0-4837-BA3D-6FB4105D4897}" srcOrd="0" destOrd="0" presId="urn:microsoft.com/office/officeart/2018/5/layout/IconCircleLabelList"/>
    <dgm:cxn modelId="{F5FB4820-64B0-4CE1-B45D-BCE4EBF59D8C}" type="presParOf" srcId="{5BF2B96A-E8B4-4793-A8EB-052C0C412956}" destId="{0C3786B4-123F-4F3B-88B3-65D36E0826C0}" srcOrd="1" destOrd="0" presId="urn:microsoft.com/office/officeart/2018/5/layout/IconCircleLabelList"/>
    <dgm:cxn modelId="{88FD6AC3-E591-4BFD-86D9-E67A370D3C62}" type="presParOf" srcId="{5BF2B96A-E8B4-4793-A8EB-052C0C412956}" destId="{BF00468E-948D-4C85-9E64-1DC130AF42EA}" srcOrd="2" destOrd="0" presId="urn:microsoft.com/office/officeart/2018/5/layout/IconCircleLabelList"/>
    <dgm:cxn modelId="{E80683F9-B4B0-4AE7-8B70-BAEC20714723}" type="presParOf" srcId="{5BF2B96A-E8B4-4793-A8EB-052C0C412956}" destId="{8694E2D8-B519-4A53-A508-21AB4137B6E5}" srcOrd="3" destOrd="0" presId="urn:microsoft.com/office/officeart/2018/5/layout/IconCircleLabelList"/>
    <dgm:cxn modelId="{82629855-E935-4AD5-B395-E034E1FC0A5D}" type="presParOf" srcId="{2DD66C50-8218-4138-988B-5D796EA87C37}" destId="{B63E3408-BF3A-4571-82B9-B02150C7F6F7}" srcOrd="7" destOrd="0" presId="urn:microsoft.com/office/officeart/2018/5/layout/IconCircleLabelList"/>
    <dgm:cxn modelId="{FF717944-275E-4C86-BDCD-56982B8F3D98}" type="presParOf" srcId="{2DD66C50-8218-4138-988B-5D796EA87C37}" destId="{C78E38D8-875C-4F38-BE43-C23658061BC8}" srcOrd="8" destOrd="0" presId="urn:microsoft.com/office/officeart/2018/5/layout/IconCircleLabelList"/>
    <dgm:cxn modelId="{1A1812C9-5EBF-48BF-8582-93DE1C023561}" type="presParOf" srcId="{C78E38D8-875C-4F38-BE43-C23658061BC8}" destId="{8474BAFC-6A56-4012-830F-323CEF887216}" srcOrd="0" destOrd="0" presId="urn:microsoft.com/office/officeart/2018/5/layout/IconCircleLabelList"/>
    <dgm:cxn modelId="{6B2843FD-915B-4ECB-9ADA-DBFF2FD6329A}" type="presParOf" srcId="{C78E38D8-875C-4F38-BE43-C23658061BC8}" destId="{0E7E9D6D-F1E2-4CF7-A6E3-ACB723AC0680}" srcOrd="1" destOrd="0" presId="urn:microsoft.com/office/officeart/2018/5/layout/IconCircleLabelList"/>
    <dgm:cxn modelId="{03C44FA6-C84A-4348-9B7C-F2B816A81205}" type="presParOf" srcId="{C78E38D8-875C-4F38-BE43-C23658061BC8}" destId="{65733F01-E544-443A-A327-9BE84ED4008F}" srcOrd="2" destOrd="0" presId="urn:microsoft.com/office/officeart/2018/5/layout/IconCircleLabelList"/>
    <dgm:cxn modelId="{4F511D0A-70C3-4C00-B0B3-28AB1BBB48B6}" type="presParOf" srcId="{C78E38D8-875C-4F38-BE43-C23658061BC8}" destId="{B69344CA-D8D6-455B-BF81-8F71F279C8A4}"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9102744A-D0E0-425E-8E9A-B629C4D3E445}" type="doc">
      <dgm:prSet loTypeId="urn:microsoft.com/office/officeart/2005/8/layout/vList2" loCatId="list" qsTypeId="urn:microsoft.com/office/officeart/2005/8/quickstyle/simple1" qsCatId="simple" csTypeId="urn:microsoft.com/office/officeart/2005/8/colors/colorful1" csCatId="colorful"/>
      <dgm:spPr/>
      <dgm:t>
        <a:bodyPr/>
        <a:lstStyle/>
        <a:p>
          <a:endParaRPr lang="en-US"/>
        </a:p>
      </dgm:t>
    </dgm:pt>
    <dgm:pt modelId="{BDEB0EE6-0094-4F68-AD1C-5648AA5508CA}">
      <dgm:prSet/>
      <dgm:spPr/>
      <dgm:t>
        <a:bodyPr/>
        <a:lstStyle/>
        <a:p>
          <a:r>
            <a:rPr lang="en-US" baseline="0"/>
            <a:t>Buffer Manager\Buffer cache hit ratio</a:t>
          </a:r>
          <a:endParaRPr lang="en-US"/>
        </a:p>
      </dgm:t>
    </dgm:pt>
    <dgm:pt modelId="{017DF52A-EB0C-4594-A97C-86237EB89E17}" type="parTrans" cxnId="{299123B0-C69A-46F6-BE90-69643739B926}">
      <dgm:prSet/>
      <dgm:spPr/>
      <dgm:t>
        <a:bodyPr/>
        <a:lstStyle/>
        <a:p>
          <a:endParaRPr lang="en-US"/>
        </a:p>
      </dgm:t>
    </dgm:pt>
    <dgm:pt modelId="{679BEB1A-788E-418C-85A0-0ED5D40DE831}" type="sibTrans" cxnId="{299123B0-C69A-46F6-BE90-69643739B926}">
      <dgm:prSet/>
      <dgm:spPr/>
      <dgm:t>
        <a:bodyPr/>
        <a:lstStyle/>
        <a:p>
          <a:endParaRPr lang="en-US"/>
        </a:p>
      </dgm:t>
    </dgm:pt>
    <dgm:pt modelId="{7BC0949E-E64E-488E-A80B-0F53FCFB951D}">
      <dgm:prSet/>
      <dgm:spPr/>
      <dgm:t>
        <a:bodyPr/>
        <a:lstStyle/>
        <a:p>
          <a:r>
            <a:rPr lang="en-US" baseline="0"/>
            <a:t>Must be as close to 100% as possible</a:t>
          </a:r>
          <a:endParaRPr lang="en-US"/>
        </a:p>
      </dgm:t>
    </dgm:pt>
    <dgm:pt modelId="{D6316B37-2AB3-475E-B1E7-4A8B5EFAA5F5}" type="parTrans" cxnId="{0DEF664C-FC9D-473C-9DA5-9EAFE3FA18B0}">
      <dgm:prSet/>
      <dgm:spPr/>
      <dgm:t>
        <a:bodyPr/>
        <a:lstStyle/>
        <a:p>
          <a:endParaRPr lang="en-US"/>
        </a:p>
      </dgm:t>
    </dgm:pt>
    <dgm:pt modelId="{3E786BFB-D52F-4671-BFD1-9CFD17AFF65A}" type="sibTrans" cxnId="{0DEF664C-FC9D-473C-9DA5-9EAFE3FA18B0}">
      <dgm:prSet/>
      <dgm:spPr/>
      <dgm:t>
        <a:bodyPr/>
        <a:lstStyle/>
        <a:p>
          <a:endParaRPr lang="en-US"/>
        </a:p>
      </dgm:t>
    </dgm:pt>
    <dgm:pt modelId="{63CFF19B-4477-4241-8307-0DD2302942B0}">
      <dgm:prSet/>
      <dgm:spPr/>
      <dgm:t>
        <a:bodyPr/>
        <a:lstStyle/>
        <a:p>
          <a:r>
            <a:rPr lang="en-US" baseline="0"/>
            <a:t>Buffer Manager\Page life expectancy</a:t>
          </a:r>
          <a:endParaRPr lang="en-US"/>
        </a:p>
      </dgm:t>
    </dgm:pt>
    <dgm:pt modelId="{1FF97400-D41D-480F-BF2E-A44F11ECB980}" type="parTrans" cxnId="{9B5FAB3B-14FA-4562-AEC7-A7DE66557EBB}">
      <dgm:prSet/>
      <dgm:spPr/>
      <dgm:t>
        <a:bodyPr/>
        <a:lstStyle/>
        <a:p>
          <a:endParaRPr lang="en-US"/>
        </a:p>
      </dgm:t>
    </dgm:pt>
    <dgm:pt modelId="{956D41B7-400E-4EF8-AC18-97C4500955DA}" type="sibTrans" cxnId="{9B5FAB3B-14FA-4562-AEC7-A7DE66557EBB}">
      <dgm:prSet/>
      <dgm:spPr/>
      <dgm:t>
        <a:bodyPr/>
        <a:lstStyle/>
        <a:p>
          <a:endParaRPr lang="en-US"/>
        </a:p>
      </dgm:t>
    </dgm:pt>
    <dgm:pt modelId="{CC243977-8B82-4222-927A-08E1182A04BA}">
      <dgm:prSet/>
      <dgm:spPr/>
      <dgm:t>
        <a:bodyPr/>
        <a:lstStyle/>
        <a:p>
          <a:r>
            <a:rPr lang="en-US" baseline="0"/>
            <a:t>A drop of more than 30% should be investigated</a:t>
          </a:r>
          <a:endParaRPr lang="en-US"/>
        </a:p>
      </dgm:t>
    </dgm:pt>
    <dgm:pt modelId="{0600E9E6-A8A9-44A7-89C9-FE2ADDD02B59}" type="parTrans" cxnId="{CB5C5138-82D1-44E1-A7DD-525CCC0ADB8E}">
      <dgm:prSet/>
      <dgm:spPr/>
      <dgm:t>
        <a:bodyPr/>
        <a:lstStyle/>
        <a:p>
          <a:endParaRPr lang="en-US"/>
        </a:p>
      </dgm:t>
    </dgm:pt>
    <dgm:pt modelId="{2D6FDFB5-82A5-4C39-A837-FA2BD58284AA}" type="sibTrans" cxnId="{CB5C5138-82D1-44E1-A7DD-525CCC0ADB8E}">
      <dgm:prSet/>
      <dgm:spPr/>
      <dgm:t>
        <a:bodyPr/>
        <a:lstStyle/>
        <a:p>
          <a:endParaRPr lang="en-US"/>
        </a:p>
      </dgm:t>
    </dgm:pt>
    <dgm:pt modelId="{58C00DA1-83D0-4207-B3BB-257992BBDAE2}">
      <dgm:prSet/>
      <dgm:spPr/>
      <dgm:t>
        <a:bodyPr/>
        <a:lstStyle/>
        <a:p>
          <a:r>
            <a:rPr lang="en-US" baseline="0"/>
            <a:t>Buffer Manager\Page lookups/sec</a:t>
          </a:r>
          <a:endParaRPr lang="en-US"/>
        </a:p>
      </dgm:t>
    </dgm:pt>
    <dgm:pt modelId="{7B47887B-5807-455A-A302-94C8C1F54BCE}" type="parTrans" cxnId="{F08EC82C-0627-42E1-AC16-12195E5262EE}">
      <dgm:prSet/>
      <dgm:spPr/>
      <dgm:t>
        <a:bodyPr/>
        <a:lstStyle/>
        <a:p>
          <a:endParaRPr lang="en-US"/>
        </a:p>
      </dgm:t>
    </dgm:pt>
    <dgm:pt modelId="{E3047D17-43F2-4ED4-BFAF-FCF1AD684767}" type="sibTrans" cxnId="{F08EC82C-0627-42E1-AC16-12195E5262EE}">
      <dgm:prSet/>
      <dgm:spPr/>
      <dgm:t>
        <a:bodyPr/>
        <a:lstStyle/>
        <a:p>
          <a:endParaRPr lang="en-US"/>
        </a:p>
      </dgm:t>
    </dgm:pt>
    <dgm:pt modelId="{748097A6-9A80-403A-BC07-7C82A4F2549C}">
      <dgm:prSet/>
      <dgm:spPr/>
      <dgm:t>
        <a:bodyPr/>
        <a:lstStyle/>
        <a:p>
          <a:r>
            <a:rPr lang="en-US" baseline="0"/>
            <a:t>Buffer Manager\Page reads/sec</a:t>
          </a:r>
          <a:endParaRPr lang="en-US"/>
        </a:p>
      </dgm:t>
    </dgm:pt>
    <dgm:pt modelId="{1EC03CA9-FF91-4398-8818-E05ECF2247E2}" type="parTrans" cxnId="{9F48BA71-8CF4-493A-B8B6-1E6A6AB1D900}">
      <dgm:prSet/>
      <dgm:spPr/>
      <dgm:t>
        <a:bodyPr/>
        <a:lstStyle/>
        <a:p>
          <a:endParaRPr lang="en-US"/>
        </a:p>
      </dgm:t>
    </dgm:pt>
    <dgm:pt modelId="{7DB5776C-4A39-452D-BC87-5C685C617A9C}" type="sibTrans" cxnId="{9F48BA71-8CF4-493A-B8B6-1E6A6AB1D900}">
      <dgm:prSet/>
      <dgm:spPr/>
      <dgm:t>
        <a:bodyPr/>
        <a:lstStyle/>
        <a:p>
          <a:endParaRPr lang="en-US"/>
        </a:p>
      </dgm:t>
    </dgm:pt>
    <dgm:pt modelId="{48232E63-1D01-4703-B7BD-692327EDB2C4}">
      <dgm:prSet/>
      <dgm:spPr/>
      <dgm:t>
        <a:bodyPr/>
        <a:lstStyle/>
        <a:p>
          <a:r>
            <a:rPr lang="en-US" baseline="0" dirty="0"/>
            <a:t>Plan Cache\Cache Hit Ratio</a:t>
          </a:r>
          <a:endParaRPr lang="en-US" dirty="0"/>
        </a:p>
      </dgm:t>
    </dgm:pt>
    <dgm:pt modelId="{EAAEF911-2D3E-4979-B43E-E1D9DDF2A19B}" type="parTrans" cxnId="{F7DA179F-9541-4940-95B3-0319FBA1AB81}">
      <dgm:prSet/>
      <dgm:spPr/>
      <dgm:t>
        <a:bodyPr/>
        <a:lstStyle/>
        <a:p>
          <a:endParaRPr lang="en-US"/>
        </a:p>
      </dgm:t>
    </dgm:pt>
    <dgm:pt modelId="{7FB58F53-BD30-4C66-924B-839B5832D3CD}" type="sibTrans" cxnId="{F7DA179F-9541-4940-95B3-0319FBA1AB81}">
      <dgm:prSet/>
      <dgm:spPr/>
      <dgm:t>
        <a:bodyPr/>
        <a:lstStyle/>
        <a:p>
          <a:endParaRPr lang="en-US"/>
        </a:p>
      </dgm:t>
    </dgm:pt>
    <dgm:pt modelId="{AD650ACB-A9F1-44DA-B0E7-6861EBEBEABC}">
      <dgm:prSet/>
      <dgm:spPr/>
      <dgm:t>
        <a:bodyPr/>
        <a:lstStyle/>
        <a:p>
          <a:r>
            <a:rPr lang="en-US" baseline="0"/>
            <a:t>Must be higher than 95%</a:t>
          </a:r>
          <a:endParaRPr lang="en-US"/>
        </a:p>
      </dgm:t>
    </dgm:pt>
    <dgm:pt modelId="{8E1DE971-DBF6-4781-BE1C-628138F9AE60}" type="parTrans" cxnId="{D04F7F31-B182-4AA9-87DD-B7F9FE85E594}">
      <dgm:prSet/>
      <dgm:spPr/>
      <dgm:t>
        <a:bodyPr/>
        <a:lstStyle/>
        <a:p>
          <a:endParaRPr lang="en-US"/>
        </a:p>
      </dgm:t>
    </dgm:pt>
    <dgm:pt modelId="{798903B8-2E22-45BD-A3BB-EB13B572F303}" type="sibTrans" cxnId="{D04F7F31-B182-4AA9-87DD-B7F9FE85E594}">
      <dgm:prSet/>
      <dgm:spPr/>
      <dgm:t>
        <a:bodyPr/>
        <a:lstStyle/>
        <a:p>
          <a:endParaRPr lang="en-US"/>
        </a:p>
      </dgm:t>
    </dgm:pt>
    <dgm:pt modelId="{445F782B-0EDD-4379-B00D-FD8303072401}">
      <dgm:prSet/>
      <dgm:spPr/>
      <dgm:t>
        <a:bodyPr/>
        <a:lstStyle/>
        <a:p>
          <a:r>
            <a:rPr lang="en-US" baseline="0"/>
            <a:t>Granted Workspace Memory (KB)</a:t>
          </a:r>
          <a:endParaRPr lang="en-US"/>
        </a:p>
      </dgm:t>
    </dgm:pt>
    <dgm:pt modelId="{119B3EE1-1B5C-42C3-B8BD-40ED09DD1A16}" type="parTrans" cxnId="{0F81D0A3-4355-41F0-80ED-95CEFED3E918}">
      <dgm:prSet/>
      <dgm:spPr/>
      <dgm:t>
        <a:bodyPr/>
        <a:lstStyle/>
        <a:p>
          <a:endParaRPr lang="en-US"/>
        </a:p>
      </dgm:t>
    </dgm:pt>
    <dgm:pt modelId="{E961AA67-C600-425D-8E1E-4AD2001E72D6}" type="sibTrans" cxnId="{0F81D0A3-4355-41F0-80ED-95CEFED3E918}">
      <dgm:prSet/>
      <dgm:spPr/>
      <dgm:t>
        <a:bodyPr/>
        <a:lstStyle/>
        <a:p>
          <a:endParaRPr lang="en-US"/>
        </a:p>
      </dgm:t>
    </dgm:pt>
    <dgm:pt modelId="{43E4FE05-2527-4A5B-B270-CC2BA3B67898}">
      <dgm:prSet/>
      <dgm:spPr/>
      <dgm:t>
        <a:bodyPr/>
        <a:lstStyle/>
        <a:p>
          <a:r>
            <a:rPr lang="en-US" baseline="0"/>
            <a:t>Automatically calculated based on system configuration, monitor for high usage</a:t>
          </a:r>
          <a:endParaRPr lang="en-US"/>
        </a:p>
      </dgm:t>
    </dgm:pt>
    <dgm:pt modelId="{D56ECDA9-01A6-4FEC-8F22-7710CFB67B08}" type="parTrans" cxnId="{0A9F5A27-AEB4-4C33-AA62-10A41D9097F5}">
      <dgm:prSet/>
      <dgm:spPr/>
      <dgm:t>
        <a:bodyPr/>
        <a:lstStyle/>
        <a:p>
          <a:endParaRPr lang="en-US"/>
        </a:p>
      </dgm:t>
    </dgm:pt>
    <dgm:pt modelId="{6AFF0B80-4829-4FD8-8B97-CE6D67A2C635}" type="sibTrans" cxnId="{0A9F5A27-AEB4-4C33-AA62-10A41D9097F5}">
      <dgm:prSet/>
      <dgm:spPr/>
      <dgm:t>
        <a:bodyPr/>
        <a:lstStyle/>
        <a:p>
          <a:endParaRPr lang="en-US"/>
        </a:p>
      </dgm:t>
    </dgm:pt>
    <dgm:pt modelId="{1537CB6D-0774-4618-8B47-76607CB5981E}" type="pres">
      <dgm:prSet presAssocID="{9102744A-D0E0-425E-8E9A-B629C4D3E445}" presName="linear" presStyleCnt="0">
        <dgm:presLayoutVars>
          <dgm:animLvl val="lvl"/>
          <dgm:resizeHandles val="exact"/>
        </dgm:presLayoutVars>
      </dgm:prSet>
      <dgm:spPr/>
    </dgm:pt>
    <dgm:pt modelId="{6D20D814-4D2E-45F1-8D07-D477BD27872C}" type="pres">
      <dgm:prSet presAssocID="{BDEB0EE6-0094-4F68-AD1C-5648AA5508CA}" presName="parentText" presStyleLbl="node1" presStyleIdx="0" presStyleCnt="6">
        <dgm:presLayoutVars>
          <dgm:chMax val="0"/>
          <dgm:bulletEnabled val="1"/>
        </dgm:presLayoutVars>
      </dgm:prSet>
      <dgm:spPr/>
    </dgm:pt>
    <dgm:pt modelId="{844C10A2-00F2-469E-9A9C-C5514DC79D0B}" type="pres">
      <dgm:prSet presAssocID="{BDEB0EE6-0094-4F68-AD1C-5648AA5508CA}" presName="childText" presStyleLbl="revTx" presStyleIdx="0" presStyleCnt="4">
        <dgm:presLayoutVars>
          <dgm:bulletEnabled val="1"/>
        </dgm:presLayoutVars>
      </dgm:prSet>
      <dgm:spPr/>
    </dgm:pt>
    <dgm:pt modelId="{C27C1C92-6882-4290-91C3-3F46625F966A}" type="pres">
      <dgm:prSet presAssocID="{63CFF19B-4477-4241-8307-0DD2302942B0}" presName="parentText" presStyleLbl="node1" presStyleIdx="1" presStyleCnt="6">
        <dgm:presLayoutVars>
          <dgm:chMax val="0"/>
          <dgm:bulletEnabled val="1"/>
        </dgm:presLayoutVars>
      </dgm:prSet>
      <dgm:spPr/>
    </dgm:pt>
    <dgm:pt modelId="{6086A914-1247-43B8-97C0-EED088A2D0A2}" type="pres">
      <dgm:prSet presAssocID="{63CFF19B-4477-4241-8307-0DD2302942B0}" presName="childText" presStyleLbl="revTx" presStyleIdx="1" presStyleCnt="4">
        <dgm:presLayoutVars>
          <dgm:bulletEnabled val="1"/>
        </dgm:presLayoutVars>
      </dgm:prSet>
      <dgm:spPr/>
    </dgm:pt>
    <dgm:pt modelId="{8C62B66A-2DD8-4D56-9AA0-15368204C5DA}" type="pres">
      <dgm:prSet presAssocID="{58C00DA1-83D0-4207-B3BB-257992BBDAE2}" presName="parentText" presStyleLbl="node1" presStyleIdx="2" presStyleCnt="6">
        <dgm:presLayoutVars>
          <dgm:chMax val="0"/>
          <dgm:bulletEnabled val="1"/>
        </dgm:presLayoutVars>
      </dgm:prSet>
      <dgm:spPr/>
    </dgm:pt>
    <dgm:pt modelId="{C1DBCE84-34BD-4CF9-AD3D-587E72598074}" type="pres">
      <dgm:prSet presAssocID="{E3047D17-43F2-4ED4-BFAF-FCF1AD684767}" presName="spacer" presStyleCnt="0"/>
      <dgm:spPr/>
    </dgm:pt>
    <dgm:pt modelId="{9E6313DC-090C-48C2-8607-048B8C3538D3}" type="pres">
      <dgm:prSet presAssocID="{748097A6-9A80-403A-BC07-7C82A4F2549C}" presName="parentText" presStyleLbl="node1" presStyleIdx="3" presStyleCnt="6">
        <dgm:presLayoutVars>
          <dgm:chMax val="0"/>
          <dgm:bulletEnabled val="1"/>
        </dgm:presLayoutVars>
      </dgm:prSet>
      <dgm:spPr/>
    </dgm:pt>
    <dgm:pt modelId="{4CD3C0DF-8257-4ED3-B22C-22CBE1B11061}" type="pres">
      <dgm:prSet presAssocID="{7DB5776C-4A39-452D-BC87-5C685C617A9C}" presName="spacer" presStyleCnt="0"/>
      <dgm:spPr/>
    </dgm:pt>
    <dgm:pt modelId="{0E1478C1-7AD2-454D-B03A-0C467370CCA8}" type="pres">
      <dgm:prSet presAssocID="{48232E63-1D01-4703-B7BD-692327EDB2C4}" presName="parentText" presStyleLbl="node1" presStyleIdx="4" presStyleCnt="6">
        <dgm:presLayoutVars>
          <dgm:chMax val="0"/>
          <dgm:bulletEnabled val="1"/>
        </dgm:presLayoutVars>
      </dgm:prSet>
      <dgm:spPr/>
    </dgm:pt>
    <dgm:pt modelId="{3F138ED1-01A9-4395-8550-8A1F12EA7CF1}" type="pres">
      <dgm:prSet presAssocID="{48232E63-1D01-4703-B7BD-692327EDB2C4}" presName="childText" presStyleLbl="revTx" presStyleIdx="2" presStyleCnt="4">
        <dgm:presLayoutVars>
          <dgm:bulletEnabled val="1"/>
        </dgm:presLayoutVars>
      </dgm:prSet>
      <dgm:spPr/>
    </dgm:pt>
    <dgm:pt modelId="{5FCF316A-D288-4DA5-A097-F9855C88CDA4}" type="pres">
      <dgm:prSet presAssocID="{445F782B-0EDD-4379-B00D-FD8303072401}" presName="parentText" presStyleLbl="node1" presStyleIdx="5" presStyleCnt="6">
        <dgm:presLayoutVars>
          <dgm:chMax val="0"/>
          <dgm:bulletEnabled val="1"/>
        </dgm:presLayoutVars>
      </dgm:prSet>
      <dgm:spPr/>
    </dgm:pt>
    <dgm:pt modelId="{0B8134AF-BFAD-4E6B-82BF-A4BF2C100562}" type="pres">
      <dgm:prSet presAssocID="{445F782B-0EDD-4379-B00D-FD8303072401}" presName="childText" presStyleLbl="revTx" presStyleIdx="3" presStyleCnt="4">
        <dgm:presLayoutVars>
          <dgm:bulletEnabled val="1"/>
        </dgm:presLayoutVars>
      </dgm:prSet>
      <dgm:spPr/>
    </dgm:pt>
  </dgm:ptLst>
  <dgm:cxnLst>
    <dgm:cxn modelId="{FD901925-0B05-4C57-A417-C10E8E5673BD}" type="presOf" srcId="{63CFF19B-4477-4241-8307-0DD2302942B0}" destId="{C27C1C92-6882-4290-91C3-3F46625F966A}" srcOrd="0" destOrd="0" presId="urn:microsoft.com/office/officeart/2005/8/layout/vList2"/>
    <dgm:cxn modelId="{0A9F5A27-AEB4-4C33-AA62-10A41D9097F5}" srcId="{445F782B-0EDD-4379-B00D-FD8303072401}" destId="{43E4FE05-2527-4A5B-B270-CC2BA3B67898}" srcOrd="0" destOrd="0" parTransId="{D56ECDA9-01A6-4FEC-8F22-7710CFB67B08}" sibTransId="{6AFF0B80-4829-4FD8-8B97-CE6D67A2C635}"/>
    <dgm:cxn modelId="{F08EC82C-0627-42E1-AC16-12195E5262EE}" srcId="{9102744A-D0E0-425E-8E9A-B629C4D3E445}" destId="{58C00DA1-83D0-4207-B3BB-257992BBDAE2}" srcOrd="2" destOrd="0" parTransId="{7B47887B-5807-455A-A302-94C8C1F54BCE}" sibTransId="{E3047D17-43F2-4ED4-BFAF-FCF1AD684767}"/>
    <dgm:cxn modelId="{D04F7F31-B182-4AA9-87DD-B7F9FE85E594}" srcId="{48232E63-1D01-4703-B7BD-692327EDB2C4}" destId="{AD650ACB-A9F1-44DA-B0E7-6861EBEBEABC}" srcOrd="0" destOrd="0" parTransId="{8E1DE971-DBF6-4781-BE1C-628138F9AE60}" sibTransId="{798903B8-2E22-45BD-A3BB-EB13B572F303}"/>
    <dgm:cxn modelId="{CB5C5138-82D1-44E1-A7DD-525CCC0ADB8E}" srcId="{63CFF19B-4477-4241-8307-0DD2302942B0}" destId="{CC243977-8B82-4222-927A-08E1182A04BA}" srcOrd="0" destOrd="0" parTransId="{0600E9E6-A8A9-44A7-89C9-FE2ADDD02B59}" sibTransId="{2D6FDFB5-82A5-4C39-A837-FA2BD58284AA}"/>
    <dgm:cxn modelId="{9B5FAB3B-14FA-4562-AEC7-A7DE66557EBB}" srcId="{9102744A-D0E0-425E-8E9A-B629C4D3E445}" destId="{63CFF19B-4477-4241-8307-0DD2302942B0}" srcOrd="1" destOrd="0" parTransId="{1FF97400-D41D-480F-BF2E-A44F11ECB980}" sibTransId="{956D41B7-400E-4EF8-AC18-97C4500955DA}"/>
    <dgm:cxn modelId="{0DEF664C-FC9D-473C-9DA5-9EAFE3FA18B0}" srcId="{BDEB0EE6-0094-4F68-AD1C-5648AA5508CA}" destId="{7BC0949E-E64E-488E-A80B-0F53FCFB951D}" srcOrd="0" destOrd="0" parTransId="{D6316B37-2AB3-475E-B1E7-4A8B5EFAA5F5}" sibTransId="{3E786BFB-D52F-4671-BFD1-9CFD17AFF65A}"/>
    <dgm:cxn modelId="{32393A6F-6041-4F25-99BA-EF547BF69E0B}" type="presOf" srcId="{748097A6-9A80-403A-BC07-7C82A4F2549C}" destId="{9E6313DC-090C-48C2-8607-048B8C3538D3}" srcOrd="0" destOrd="0" presId="urn:microsoft.com/office/officeart/2005/8/layout/vList2"/>
    <dgm:cxn modelId="{9F48BA71-8CF4-493A-B8B6-1E6A6AB1D900}" srcId="{9102744A-D0E0-425E-8E9A-B629C4D3E445}" destId="{748097A6-9A80-403A-BC07-7C82A4F2549C}" srcOrd="3" destOrd="0" parTransId="{1EC03CA9-FF91-4398-8818-E05ECF2247E2}" sibTransId="{7DB5776C-4A39-452D-BC87-5C685C617A9C}"/>
    <dgm:cxn modelId="{945E8554-4EE7-4B99-AF3E-2E3D3F68DCC1}" type="presOf" srcId="{7BC0949E-E64E-488E-A80B-0F53FCFB951D}" destId="{844C10A2-00F2-469E-9A9C-C5514DC79D0B}" srcOrd="0" destOrd="0" presId="urn:microsoft.com/office/officeart/2005/8/layout/vList2"/>
    <dgm:cxn modelId="{C2EEAD56-7B82-41F0-BC24-D26F2F40936A}" type="presOf" srcId="{58C00DA1-83D0-4207-B3BB-257992BBDAE2}" destId="{8C62B66A-2DD8-4D56-9AA0-15368204C5DA}" srcOrd="0" destOrd="0" presId="urn:microsoft.com/office/officeart/2005/8/layout/vList2"/>
    <dgm:cxn modelId="{BE02D080-2CCB-4F57-8A80-CE715631FC4C}" type="presOf" srcId="{445F782B-0EDD-4379-B00D-FD8303072401}" destId="{5FCF316A-D288-4DA5-A097-F9855C88CDA4}" srcOrd="0" destOrd="0" presId="urn:microsoft.com/office/officeart/2005/8/layout/vList2"/>
    <dgm:cxn modelId="{89051D83-351C-440E-9BAD-990B42E12249}" type="presOf" srcId="{BDEB0EE6-0094-4F68-AD1C-5648AA5508CA}" destId="{6D20D814-4D2E-45F1-8D07-D477BD27872C}" srcOrd="0" destOrd="0" presId="urn:microsoft.com/office/officeart/2005/8/layout/vList2"/>
    <dgm:cxn modelId="{F7DA179F-9541-4940-95B3-0319FBA1AB81}" srcId="{9102744A-D0E0-425E-8E9A-B629C4D3E445}" destId="{48232E63-1D01-4703-B7BD-692327EDB2C4}" srcOrd="4" destOrd="0" parTransId="{EAAEF911-2D3E-4979-B43E-E1D9DDF2A19B}" sibTransId="{7FB58F53-BD30-4C66-924B-839B5832D3CD}"/>
    <dgm:cxn modelId="{0F81D0A3-4355-41F0-80ED-95CEFED3E918}" srcId="{9102744A-D0E0-425E-8E9A-B629C4D3E445}" destId="{445F782B-0EDD-4379-B00D-FD8303072401}" srcOrd="5" destOrd="0" parTransId="{119B3EE1-1B5C-42C3-B8BD-40ED09DD1A16}" sibTransId="{E961AA67-C600-425D-8E1E-4AD2001E72D6}"/>
    <dgm:cxn modelId="{3E976CAD-1815-459C-84E6-2F2DA1004775}" type="presOf" srcId="{43E4FE05-2527-4A5B-B270-CC2BA3B67898}" destId="{0B8134AF-BFAD-4E6B-82BF-A4BF2C100562}" srcOrd="0" destOrd="0" presId="urn:microsoft.com/office/officeart/2005/8/layout/vList2"/>
    <dgm:cxn modelId="{299123B0-C69A-46F6-BE90-69643739B926}" srcId="{9102744A-D0E0-425E-8E9A-B629C4D3E445}" destId="{BDEB0EE6-0094-4F68-AD1C-5648AA5508CA}" srcOrd="0" destOrd="0" parTransId="{017DF52A-EB0C-4594-A97C-86237EB89E17}" sibTransId="{679BEB1A-788E-418C-85A0-0ED5D40DE831}"/>
    <dgm:cxn modelId="{8663F2B0-0B89-4488-A4E1-2042BC5EAC5E}" type="presOf" srcId="{48232E63-1D01-4703-B7BD-692327EDB2C4}" destId="{0E1478C1-7AD2-454D-B03A-0C467370CCA8}" srcOrd="0" destOrd="0" presId="urn:microsoft.com/office/officeart/2005/8/layout/vList2"/>
    <dgm:cxn modelId="{96CD6ADB-4B03-449F-A5B7-5A883408A876}" type="presOf" srcId="{AD650ACB-A9F1-44DA-B0E7-6861EBEBEABC}" destId="{3F138ED1-01A9-4395-8550-8A1F12EA7CF1}" srcOrd="0" destOrd="0" presId="urn:microsoft.com/office/officeart/2005/8/layout/vList2"/>
    <dgm:cxn modelId="{A68F07EF-E0EC-435C-98E4-1EBC9CFA7E20}" type="presOf" srcId="{CC243977-8B82-4222-927A-08E1182A04BA}" destId="{6086A914-1247-43B8-97C0-EED088A2D0A2}" srcOrd="0" destOrd="0" presId="urn:microsoft.com/office/officeart/2005/8/layout/vList2"/>
    <dgm:cxn modelId="{573910F7-121B-4DCB-AB2E-C97BAFE92E82}" type="presOf" srcId="{9102744A-D0E0-425E-8E9A-B629C4D3E445}" destId="{1537CB6D-0774-4618-8B47-76607CB5981E}" srcOrd="0" destOrd="0" presId="urn:microsoft.com/office/officeart/2005/8/layout/vList2"/>
    <dgm:cxn modelId="{D3F1AB42-62AD-4EAF-AFA8-161D33C60531}" type="presParOf" srcId="{1537CB6D-0774-4618-8B47-76607CB5981E}" destId="{6D20D814-4D2E-45F1-8D07-D477BD27872C}" srcOrd="0" destOrd="0" presId="urn:microsoft.com/office/officeart/2005/8/layout/vList2"/>
    <dgm:cxn modelId="{8070236F-8EE2-4087-82BC-D50255E94E01}" type="presParOf" srcId="{1537CB6D-0774-4618-8B47-76607CB5981E}" destId="{844C10A2-00F2-469E-9A9C-C5514DC79D0B}" srcOrd="1" destOrd="0" presId="urn:microsoft.com/office/officeart/2005/8/layout/vList2"/>
    <dgm:cxn modelId="{708711B5-8ECA-422E-B661-E98D32ACAF86}" type="presParOf" srcId="{1537CB6D-0774-4618-8B47-76607CB5981E}" destId="{C27C1C92-6882-4290-91C3-3F46625F966A}" srcOrd="2" destOrd="0" presId="urn:microsoft.com/office/officeart/2005/8/layout/vList2"/>
    <dgm:cxn modelId="{D7CA81EC-74DB-4329-8734-032203C93D19}" type="presParOf" srcId="{1537CB6D-0774-4618-8B47-76607CB5981E}" destId="{6086A914-1247-43B8-97C0-EED088A2D0A2}" srcOrd="3" destOrd="0" presId="urn:microsoft.com/office/officeart/2005/8/layout/vList2"/>
    <dgm:cxn modelId="{7CE2D50D-09C6-4858-A574-649765FBE7FC}" type="presParOf" srcId="{1537CB6D-0774-4618-8B47-76607CB5981E}" destId="{8C62B66A-2DD8-4D56-9AA0-15368204C5DA}" srcOrd="4" destOrd="0" presId="urn:microsoft.com/office/officeart/2005/8/layout/vList2"/>
    <dgm:cxn modelId="{04724968-2FF2-4239-A0E5-266A64079C78}" type="presParOf" srcId="{1537CB6D-0774-4618-8B47-76607CB5981E}" destId="{C1DBCE84-34BD-4CF9-AD3D-587E72598074}" srcOrd="5" destOrd="0" presId="urn:microsoft.com/office/officeart/2005/8/layout/vList2"/>
    <dgm:cxn modelId="{5097D081-AAF7-4EB6-A951-A920201C8633}" type="presParOf" srcId="{1537CB6D-0774-4618-8B47-76607CB5981E}" destId="{9E6313DC-090C-48C2-8607-048B8C3538D3}" srcOrd="6" destOrd="0" presId="urn:microsoft.com/office/officeart/2005/8/layout/vList2"/>
    <dgm:cxn modelId="{A03CA016-7C9D-4E20-9C3C-276D69733DEA}" type="presParOf" srcId="{1537CB6D-0774-4618-8B47-76607CB5981E}" destId="{4CD3C0DF-8257-4ED3-B22C-22CBE1B11061}" srcOrd="7" destOrd="0" presId="urn:microsoft.com/office/officeart/2005/8/layout/vList2"/>
    <dgm:cxn modelId="{B74716AF-A2D8-4943-9581-D55BBFA18DE9}" type="presParOf" srcId="{1537CB6D-0774-4618-8B47-76607CB5981E}" destId="{0E1478C1-7AD2-454D-B03A-0C467370CCA8}" srcOrd="8" destOrd="0" presId="urn:microsoft.com/office/officeart/2005/8/layout/vList2"/>
    <dgm:cxn modelId="{EA8D8D8F-D256-46A5-AEC8-029F9ABCF2B3}" type="presParOf" srcId="{1537CB6D-0774-4618-8B47-76607CB5981E}" destId="{3F138ED1-01A9-4395-8550-8A1F12EA7CF1}" srcOrd="9" destOrd="0" presId="urn:microsoft.com/office/officeart/2005/8/layout/vList2"/>
    <dgm:cxn modelId="{B7FC80D2-2B43-4DB6-92C1-3D5AABD7F08C}" type="presParOf" srcId="{1537CB6D-0774-4618-8B47-76607CB5981E}" destId="{5FCF316A-D288-4DA5-A097-F9855C88CDA4}" srcOrd="10" destOrd="0" presId="urn:microsoft.com/office/officeart/2005/8/layout/vList2"/>
    <dgm:cxn modelId="{1A41D2EB-7940-4C35-B626-ED5A02EEDE35}" type="presParOf" srcId="{1537CB6D-0774-4618-8B47-76607CB5981E}" destId="{0B8134AF-BFAD-4E6B-82BF-A4BF2C100562}" srcOrd="1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List three features that can be used to monitor memory usage?</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dirty="0"/>
            <a:t>Which DMV allows you to view memory pressure?</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custT="1"/>
      <dgm:spPr/>
      <dgm:t>
        <a:bodyPr/>
        <a:lstStyle/>
        <a:p>
          <a:r>
            <a:rPr lang="en-US" sz="2400" dirty="0"/>
            <a:t>Which memory component is responsible for allocating memory?</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E0264A1-A044-402E-9DCD-DD6262316D90}"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E6B7415F-41AE-46B5-BFC9-737584FE6827}">
      <dgm:prSet custT="1"/>
      <dgm:spPr/>
      <dgm:t>
        <a:bodyPr/>
        <a:lstStyle/>
        <a:p>
          <a:r>
            <a:rPr lang="en-US" sz="2000" baseline="0" dirty="0"/>
            <a:t>SOS_SCHEDULER_YIELD</a:t>
          </a:r>
          <a:endParaRPr lang="en-US" sz="2000" dirty="0"/>
        </a:p>
      </dgm:t>
    </dgm:pt>
    <dgm:pt modelId="{BB62288F-4332-4E32-B40F-37241D3BC35D}" type="parTrans" cxnId="{37A37987-301B-4054-8F95-0629BC3919B6}">
      <dgm:prSet/>
      <dgm:spPr/>
      <dgm:t>
        <a:bodyPr/>
        <a:lstStyle/>
        <a:p>
          <a:endParaRPr lang="en-US"/>
        </a:p>
      </dgm:t>
    </dgm:pt>
    <dgm:pt modelId="{CBC93627-14E5-4044-BF23-DB682E2806F4}" type="sibTrans" cxnId="{37A37987-301B-4054-8F95-0629BC3919B6}">
      <dgm:prSet/>
      <dgm:spPr/>
      <dgm:t>
        <a:bodyPr/>
        <a:lstStyle/>
        <a:p>
          <a:endParaRPr lang="en-US"/>
        </a:p>
      </dgm:t>
    </dgm:pt>
    <dgm:pt modelId="{1A5CF1FD-8847-4810-B583-D8E5707E3BC7}">
      <dgm:prSet custT="1"/>
      <dgm:spPr/>
      <dgm:t>
        <a:bodyPr/>
        <a:lstStyle/>
        <a:p>
          <a:r>
            <a:rPr lang="en-US" sz="2000" kern="1200" spc="0" baseline="0" dirty="0">
              <a:latin typeface="+mn-lt"/>
              <a:ea typeface="+mn-ea"/>
              <a:cs typeface="Segoe UI" panose="020B0502040204020203" pitchFamily="34" charset="0"/>
            </a:rPr>
            <a:t>Normally means a thread has yielded after exhausting the 4ms quantum.</a:t>
          </a:r>
        </a:p>
      </dgm:t>
    </dgm:pt>
    <dgm:pt modelId="{B8CCD8A2-242E-416D-B659-6CD4AFD54226}" type="parTrans" cxnId="{E34BB079-0A2E-4D3C-8654-3CCCF90CF278}">
      <dgm:prSet/>
      <dgm:spPr/>
      <dgm:t>
        <a:bodyPr/>
        <a:lstStyle/>
        <a:p>
          <a:endParaRPr lang="en-US"/>
        </a:p>
      </dgm:t>
    </dgm:pt>
    <dgm:pt modelId="{BCC8C011-E09F-482C-B551-40069F2E515B}" type="sibTrans" cxnId="{E34BB079-0A2E-4D3C-8654-3CCCF90CF278}">
      <dgm:prSet/>
      <dgm:spPr/>
      <dgm:t>
        <a:bodyPr/>
        <a:lstStyle/>
        <a:p>
          <a:endParaRPr lang="en-US"/>
        </a:p>
      </dgm:t>
    </dgm:pt>
    <dgm:pt modelId="{1785E7F1-ED75-41E1-9CD3-617D30922D03}">
      <dgm:prSet custT="1"/>
      <dgm:spPr/>
      <dgm:t>
        <a:bodyPr/>
        <a:lstStyle/>
        <a:p>
          <a:r>
            <a:rPr lang="en-US" sz="2000" baseline="0"/>
            <a:t>CXPACKET</a:t>
          </a:r>
          <a:endParaRPr lang="en-US" sz="2000"/>
        </a:p>
      </dgm:t>
    </dgm:pt>
    <dgm:pt modelId="{727605A5-85F3-4AC2-8396-017671B57636}" type="parTrans" cxnId="{CAF91406-C408-48F6-8A58-82662FC4DBF1}">
      <dgm:prSet/>
      <dgm:spPr/>
      <dgm:t>
        <a:bodyPr/>
        <a:lstStyle/>
        <a:p>
          <a:endParaRPr lang="en-US"/>
        </a:p>
      </dgm:t>
    </dgm:pt>
    <dgm:pt modelId="{8A35170A-0E3A-4DB3-A0E4-ADB7064CD30D}" type="sibTrans" cxnId="{CAF91406-C408-48F6-8A58-82662FC4DBF1}">
      <dgm:prSet/>
      <dgm:spPr/>
      <dgm:t>
        <a:bodyPr/>
        <a:lstStyle/>
        <a:p>
          <a:endParaRPr lang="en-US"/>
        </a:p>
      </dgm:t>
    </dgm:pt>
    <dgm:pt modelId="{CA82A5DA-8153-493A-ADD5-316A0D209425}">
      <dgm:prSet custT="1"/>
      <dgm:spPr/>
      <dgm:t>
        <a:bodyPr/>
        <a:lstStyle/>
        <a:p>
          <a:r>
            <a:rPr lang="en-US" sz="2000" kern="1200" spc="0" baseline="0" dirty="0">
              <a:latin typeface="+mn-lt"/>
              <a:ea typeface="+mn-ea"/>
              <a:cs typeface="Segoe UI" panose="020B0502040204020203" pitchFamily="34" charset="0"/>
            </a:rPr>
            <a:t>If it's an OLTP system, check for parallelism issues if above 20%</a:t>
          </a:r>
        </a:p>
      </dgm:t>
    </dgm:pt>
    <dgm:pt modelId="{E6E0BDD1-D39D-4378-A522-73B6955985FE}" type="parTrans" cxnId="{FD6BD07C-B3CA-4B75-B7FE-68F20AB94CA2}">
      <dgm:prSet/>
      <dgm:spPr/>
      <dgm:t>
        <a:bodyPr/>
        <a:lstStyle/>
        <a:p>
          <a:endParaRPr lang="en-US"/>
        </a:p>
      </dgm:t>
    </dgm:pt>
    <dgm:pt modelId="{69097AFF-5DA1-4560-8BC2-EC51D1B05649}" type="sibTrans" cxnId="{FD6BD07C-B3CA-4B75-B7FE-68F20AB94CA2}">
      <dgm:prSet/>
      <dgm:spPr/>
      <dgm:t>
        <a:bodyPr/>
        <a:lstStyle/>
        <a:p>
          <a:endParaRPr lang="en-US"/>
        </a:p>
      </dgm:t>
    </dgm:pt>
    <dgm:pt modelId="{EE728A8B-070B-4E96-82B8-74A5E9221D69}">
      <dgm:prSet custT="1"/>
      <dgm:spPr/>
      <dgm:t>
        <a:bodyPr/>
        <a:lstStyle/>
        <a:p>
          <a:r>
            <a:rPr lang="en-US" sz="2000" kern="1200" spc="0" baseline="0" dirty="0">
              <a:latin typeface="+mn-lt"/>
              <a:ea typeface="+mn-ea"/>
              <a:cs typeface="Segoe UI" panose="020B0502040204020203" pitchFamily="34" charset="0"/>
            </a:rPr>
            <a:t>If combined with a high number of </a:t>
          </a:r>
          <a:r>
            <a:rPr lang="en-US" sz="2000" kern="1200" spc="0" baseline="0" dirty="0" err="1">
              <a:latin typeface="+mn-lt"/>
              <a:ea typeface="+mn-ea"/>
              <a:cs typeface="Segoe UI" panose="020B0502040204020203" pitchFamily="34" charset="0"/>
            </a:rPr>
            <a:t>PAGEIOLATCH_xx</a:t>
          </a:r>
          <a:r>
            <a:rPr lang="en-US" sz="2000" kern="1200" spc="0" baseline="0" dirty="0">
              <a:latin typeface="+mn-lt"/>
              <a:ea typeface="+mn-ea"/>
              <a:cs typeface="Segoe UI" panose="020B0502040204020203" pitchFamily="34" charset="0"/>
            </a:rPr>
            <a:t> waits, it could be due to large parallel table scans going on because of incorrect non-clustered indexes, or out-of-date statistics causing a bad query plan</a:t>
          </a:r>
        </a:p>
      </dgm:t>
    </dgm:pt>
    <dgm:pt modelId="{CAEFCFB0-26A4-4D6F-B5EB-D1EF47A6E4FA}" type="parTrans" cxnId="{2BD840DC-3D03-4EFB-9D26-D8BC8974A4CC}">
      <dgm:prSet/>
      <dgm:spPr/>
      <dgm:t>
        <a:bodyPr/>
        <a:lstStyle/>
        <a:p>
          <a:endParaRPr lang="en-US"/>
        </a:p>
      </dgm:t>
    </dgm:pt>
    <dgm:pt modelId="{A0C26801-2295-47AE-842D-7FAF1BDC7DDB}" type="sibTrans" cxnId="{2BD840DC-3D03-4EFB-9D26-D8BC8974A4CC}">
      <dgm:prSet/>
      <dgm:spPr/>
      <dgm:t>
        <a:bodyPr/>
        <a:lstStyle/>
        <a:p>
          <a:endParaRPr lang="en-US"/>
        </a:p>
      </dgm:t>
    </dgm:pt>
    <dgm:pt modelId="{31D4E3A8-238A-43CC-9673-8A5CFF911DCC}">
      <dgm:prSet custT="1"/>
      <dgm:spPr/>
      <dgm:t>
        <a:bodyPr/>
        <a:lstStyle/>
        <a:p>
          <a:r>
            <a:rPr lang="en-US" sz="2000" kern="1200" spc="0" baseline="0">
              <a:latin typeface="+mn-lt"/>
              <a:ea typeface="+mn-ea"/>
              <a:cs typeface="Segoe UI" panose="020B0502040204020203" pitchFamily="34" charset="0"/>
            </a:rPr>
            <a:t>Might indicate CPU pressure if very high overall percentage of Processor Time. Example: Large amount of Signal Waits (Runnable Queue)</a:t>
          </a:r>
          <a:endParaRPr lang="en-US" sz="2000" kern="1200" spc="0" baseline="0" dirty="0">
            <a:latin typeface="+mn-lt"/>
            <a:ea typeface="+mn-ea"/>
            <a:cs typeface="Segoe UI" panose="020B0502040204020203" pitchFamily="34" charset="0"/>
          </a:endParaRPr>
        </a:p>
      </dgm:t>
    </dgm:pt>
    <dgm:pt modelId="{ED940AA4-E38C-4595-A0FD-3B8C7F63EC6A}" type="parTrans" cxnId="{84601848-1B8A-4C10-BD74-89C68BB6F992}">
      <dgm:prSet/>
      <dgm:spPr/>
      <dgm:t>
        <a:bodyPr/>
        <a:lstStyle/>
        <a:p>
          <a:endParaRPr lang="en-US"/>
        </a:p>
      </dgm:t>
    </dgm:pt>
    <dgm:pt modelId="{CBCDC733-73BB-456D-8357-14E12C00B112}" type="sibTrans" cxnId="{84601848-1B8A-4C10-BD74-89C68BB6F992}">
      <dgm:prSet/>
      <dgm:spPr/>
      <dgm:t>
        <a:bodyPr/>
        <a:lstStyle/>
        <a:p>
          <a:endParaRPr lang="en-US"/>
        </a:p>
      </dgm:t>
    </dgm:pt>
    <dgm:pt modelId="{CC81A013-E92D-46FF-8DF2-E3FB40AAE917}">
      <dgm:prSet custT="1"/>
      <dgm:spPr>
        <a:xfrm>
          <a:off x="0" y="43908"/>
          <a:ext cx="8128000" cy="617759"/>
        </a:xfrm>
      </dgm:spPr>
      <dgm:t>
        <a:bodyPr/>
        <a:lstStyle/>
        <a:p>
          <a:r>
            <a:rPr lang="en-US" sz="2000" kern="1200" dirty="0"/>
            <a:t>THREADPOOL</a:t>
          </a:r>
          <a:endParaRPr lang="en-US" sz="2000" kern="1200" spc="0" baseline="0" dirty="0">
            <a:latin typeface="+mn-lt"/>
            <a:ea typeface="+mn-ea"/>
            <a:cs typeface="Segoe UI" panose="020B0502040204020203" pitchFamily="34" charset="0"/>
          </a:endParaRPr>
        </a:p>
      </dgm:t>
    </dgm:pt>
    <dgm:pt modelId="{AE8E3E31-85D5-46E7-B52B-F5BB870E2C0A}" type="parTrans" cxnId="{788B8B16-920D-4C1C-A61F-BF9BBA39C95C}">
      <dgm:prSet/>
      <dgm:spPr/>
      <dgm:t>
        <a:bodyPr/>
        <a:lstStyle/>
        <a:p>
          <a:endParaRPr lang="en-US"/>
        </a:p>
      </dgm:t>
    </dgm:pt>
    <dgm:pt modelId="{234E70A0-B7FE-48EC-AA28-61EDC361020D}" type="sibTrans" cxnId="{788B8B16-920D-4C1C-A61F-BF9BBA39C95C}">
      <dgm:prSet/>
      <dgm:spPr/>
      <dgm:t>
        <a:bodyPr/>
        <a:lstStyle/>
        <a:p>
          <a:endParaRPr lang="en-US"/>
        </a:p>
      </dgm:t>
    </dgm:pt>
    <dgm:pt modelId="{11FE68B2-45C1-4E78-8285-0103D4B67341}">
      <dgm:prSet custT="1"/>
      <dgm:spPr>
        <a:xfrm>
          <a:off x="0" y="661667"/>
          <a:ext cx="8128000" cy="707940"/>
        </a:xfrm>
      </dgm:spPr>
      <dgm:t>
        <a:bodyPr/>
        <a:lstStyle/>
        <a:p>
          <a:r>
            <a:rPr lang="en-US" sz="2000" dirty="0"/>
            <a:t>Look for high blocking or contention problems with workers. </a:t>
          </a:r>
        </a:p>
      </dgm:t>
    </dgm:pt>
    <dgm:pt modelId="{01A85887-4B7C-4530-B08F-64338A44D7F0}" type="parTrans" cxnId="{07BC28E4-2F30-4134-8376-D7B73DEECEAC}">
      <dgm:prSet/>
      <dgm:spPr/>
      <dgm:t>
        <a:bodyPr/>
        <a:lstStyle/>
        <a:p>
          <a:endParaRPr lang="en-US"/>
        </a:p>
      </dgm:t>
    </dgm:pt>
    <dgm:pt modelId="{9F2D3850-264E-4867-A624-E27E50787749}" type="sibTrans" cxnId="{07BC28E4-2F30-4134-8376-D7B73DEECEAC}">
      <dgm:prSet/>
      <dgm:spPr/>
      <dgm:t>
        <a:bodyPr/>
        <a:lstStyle/>
        <a:p>
          <a:endParaRPr lang="en-US"/>
        </a:p>
      </dgm:t>
    </dgm:pt>
    <dgm:pt modelId="{8255C88A-F08C-46E6-B0C6-5571F2D0DC9B}">
      <dgm:prSet custT="1"/>
      <dgm:spPr>
        <a:xfrm>
          <a:off x="0" y="661667"/>
          <a:ext cx="8128000" cy="707940"/>
        </a:xfrm>
      </dgm:spPr>
      <dgm:t>
        <a:bodyPr/>
        <a:lstStyle/>
        <a:p>
          <a:r>
            <a:rPr lang="en-US" sz="2000" dirty="0"/>
            <a:t>This will not show up in </a:t>
          </a:r>
          <a:r>
            <a:rPr lang="en-US" sz="2000" dirty="0" err="1"/>
            <a:t>sys.dm_exec_requests</a:t>
          </a:r>
          <a:r>
            <a:rPr lang="en-US" sz="2000" dirty="0"/>
            <a:t>.</a:t>
          </a:r>
        </a:p>
      </dgm:t>
    </dgm:pt>
    <dgm:pt modelId="{37D1C68E-BFD3-4080-9DF6-D9D2316F0724}" type="parTrans" cxnId="{095BCB88-0CCB-474B-980D-D1A433953DDD}">
      <dgm:prSet/>
      <dgm:spPr/>
      <dgm:t>
        <a:bodyPr/>
        <a:lstStyle/>
        <a:p>
          <a:endParaRPr lang="en-US"/>
        </a:p>
      </dgm:t>
    </dgm:pt>
    <dgm:pt modelId="{D66FA3C3-05BF-4FF2-B2BA-A7CFD3104A00}" type="sibTrans" cxnId="{095BCB88-0CCB-474B-980D-D1A433953DDD}">
      <dgm:prSet/>
      <dgm:spPr/>
      <dgm:t>
        <a:bodyPr/>
        <a:lstStyle/>
        <a:p>
          <a:endParaRPr lang="en-US"/>
        </a:p>
      </dgm:t>
    </dgm:pt>
    <dgm:pt modelId="{A50A7BBB-943C-4134-89BF-DC8CA300F1AC}" type="pres">
      <dgm:prSet presAssocID="{5E0264A1-A044-402E-9DCD-DD6262316D90}" presName="linear" presStyleCnt="0">
        <dgm:presLayoutVars>
          <dgm:animLvl val="lvl"/>
          <dgm:resizeHandles val="exact"/>
        </dgm:presLayoutVars>
      </dgm:prSet>
      <dgm:spPr/>
    </dgm:pt>
    <dgm:pt modelId="{98CCB0F4-16B8-4109-B453-EAA6FB561D0C}" type="pres">
      <dgm:prSet presAssocID="{E6B7415F-41AE-46B5-BFC9-737584FE6827}" presName="parentText" presStyleLbl="node1" presStyleIdx="0" presStyleCnt="3">
        <dgm:presLayoutVars>
          <dgm:chMax val="0"/>
          <dgm:bulletEnabled val="1"/>
        </dgm:presLayoutVars>
      </dgm:prSet>
      <dgm:spPr/>
    </dgm:pt>
    <dgm:pt modelId="{62C5579D-D99F-4DA8-91AC-CB6F57C85D18}" type="pres">
      <dgm:prSet presAssocID="{E6B7415F-41AE-46B5-BFC9-737584FE6827}" presName="childText" presStyleLbl="revTx" presStyleIdx="0" presStyleCnt="3">
        <dgm:presLayoutVars>
          <dgm:bulletEnabled val="1"/>
        </dgm:presLayoutVars>
      </dgm:prSet>
      <dgm:spPr>
        <a:prstGeom prst="rect">
          <a:avLst/>
        </a:prstGeom>
      </dgm:spPr>
    </dgm:pt>
    <dgm:pt modelId="{84F5C557-BA97-4664-AB76-D06F883D5CBD}" type="pres">
      <dgm:prSet presAssocID="{CC81A013-E92D-46FF-8DF2-E3FB40AAE917}" presName="parentText" presStyleLbl="node1" presStyleIdx="1" presStyleCnt="3">
        <dgm:presLayoutVars>
          <dgm:chMax val="0"/>
          <dgm:bulletEnabled val="1"/>
        </dgm:presLayoutVars>
      </dgm:prSet>
      <dgm:spPr>
        <a:prstGeom prst="roundRect">
          <a:avLst/>
        </a:prstGeom>
      </dgm:spPr>
    </dgm:pt>
    <dgm:pt modelId="{F777EA45-D269-46D8-80A9-3020D0D3EA35}" type="pres">
      <dgm:prSet presAssocID="{CC81A013-E92D-46FF-8DF2-E3FB40AAE917}" presName="childText" presStyleLbl="revTx" presStyleIdx="1" presStyleCnt="3">
        <dgm:presLayoutVars>
          <dgm:bulletEnabled val="1"/>
        </dgm:presLayoutVars>
      </dgm:prSet>
      <dgm:spPr/>
    </dgm:pt>
    <dgm:pt modelId="{17809C47-9500-41D0-A865-B79CA4691ABA}" type="pres">
      <dgm:prSet presAssocID="{1785E7F1-ED75-41E1-9CD3-617D30922D03}" presName="parentText" presStyleLbl="node1" presStyleIdx="2" presStyleCnt="3">
        <dgm:presLayoutVars>
          <dgm:chMax val="0"/>
          <dgm:bulletEnabled val="1"/>
        </dgm:presLayoutVars>
      </dgm:prSet>
      <dgm:spPr/>
    </dgm:pt>
    <dgm:pt modelId="{43B47D74-38D7-4DD1-B257-8C59E82928FC}" type="pres">
      <dgm:prSet presAssocID="{1785E7F1-ED75-41E1-9CD3-617D30922D03}" presName="childText" presStyleLbl="revTx" presStyleIdx="2" presStyleCnt="3">
        <dgm:presLayoutVars>
          <dgm:bulletEnabled val="1"/>
        </dgm:presLayoutVars>
      </dgm:prSet>
      <dgm:spPr/>
    </dgm:pt>
  </dgm:ptLst>
  <dgm:cxnLst>
    <dgm:cxn modelId="{CAF91406-C408-48F6-8A58-82662FC4DBF1}" srcId="{5E0264A1-A044-402E-9DCD-DD6262316D90}" destId="{1785E7F1-ED75-41E1-9CD3-617D30922D03}" srcOrd="2" destOrd="0" parTransId="{727605A5-85F3-4AC2-8396-017671B57636}" sibTransId="{8A35170A-0E3A-4DB3-A0E4-ADB7064CD30D}"/>
    <dgm:cxn modelId="{476E0A0A-AFF7-42F0-AF9C-19A148950818}" type="presOf" srcId="{11FE68B2-45C1-4E78-8285-0103D4B67341}" destId="{F777EA45-D269-46D8-80A9-3020D0D3EA35}" srcOrd="0" destOrd="0" presId="urn:microsoft.com/office/officeart/2005/8/layout/vList2"/>
    <dgm:cxn modelId="{788B8B16-920D-4C1C-A61F-BF9BBA39C95C}" srcId="{5E0264A1-A044-402E-9DCD-DD6262316D90}" destId="{CC81A013-E92D-46FF-8DF2-E3FB40AAE917}" srcOrd="1" destOrd="0" parTransId="{AE8E3E31-85D5-46E7-B52B-F5BB870E2C0A}" sibTransId="{234E70A0-B7FE-48EC-AA28-61EDC361020D}"/>
    <dgm:cxn modelId="{59EFD216-7E42-4B76-B87B-63C33E661DE9}" type="presOf" srcId="{EE728A8B-070B-4E96-82B8-74A5E9221D69}" destId="{43B47D74-38D7-4DD1-B257-8C59E82928FC}" srcOrd="0" destOrd="1" presId="urn:microsoft.com/office/officeart/2005/8/layout/vList2"/>
    <dgm:cxn modelId="{5D3E7C36-6067-4D22-88A5-9A8E75C9DEA1}" type="presOf" srcId="{1785E7F1-ED75-41E1-9CD3-617D30922D03}" destId="{17809C47-9500-41D0-A865-B79CA4691ABA}" srcOrd="0" destOrd="0" presId="urn:microsoft.com/office/officeart/2005/8/layout/vList2"/>
    <dgm:cxn modelId="{DFB0A85B-BE41-41BB-8621-C41CC6E507CB}" type="presOf" srcId="{8255C88A-F08C-46E6-B0C6-5571F2D0DC9B}" destId="{F777EA45-D269-46D8-80A9-3020D0D3EA35}" srcOrd="0" destOrd="1" presId="urn:microsoft.com/office/officeart/2005/8/layout/vList2"/>
    <dgm:cxn modelId="{84601848-1B8A-4C10-BD74-89C68BB6F992}" srcId="{CC81A013-E92D-46FF-8DF2-E3FB40AAE917}" destId="{31D4E3A8-238A-43CC-9673-8A5CFF911DCC}" srcOrd="2" destOrd="0" parTransId="{ED940AA4-E38C-4595-A0FD-3B8C7F63EC6A}" sibTransId="{CBCDC733-73BB-456D-8357-14E12C00B112}"/>
    <dgm:cxn modelId="{E34BB079-0A2E-4D3C-8654-3CCCF90CF278}" srcId="{E6B7415F-41AE-46B5-BFC9-737584FE6827}" destId="{1A5CF1FD-8847-4810-B583-D8E5707E3BC7}" srcOrd="0" destOrd="0" parTransId="{B8CCD8A2-242E-416D-B659-6CD4AFD54226}" sibTransId="{BCC8C011-E09F-482C-B551-40069F2E515B}"/>
    <dgm:cxn modelId="{FD6BD07C-B3CA-4B75-B7FE-68F20AB94CA2}" srcId="{1785E7F1-ED75-41E1-9CD3-617D30922D03}" destId="{CA82A5DA-8153-493A-ADD5-316A0D209425}" srcOrd="0" destOrd="0" parTransId="{E6E0BDD1-D39D-4378-A522-73B6955985FE}" sibTransId="{69097AFF-5DA1-4560-8BC2-EC51D1B05649}"/>
    <dgm:cxn modelId="{37A37987-301B-4054-8F95-0629BC3919B6}" srcId="{5E0264A1-A044-402E-9DCD-DD6262316D90}" destId="{E6B7415F-41AE-46B5-BFC9-737584FE6827}" srcOrd="0" destOrd="0" parTransId="{BB62288F-4332-4E32-B40F-37241D3BC35D}" sibTransId="{CBC93627-14E5-4044-BF23-DB682E2806F4}"/>
    <dgm:cxn modelId="{095BCB88-0CCB-474B-980D-D1A433953DDD}" srcId="{CC81A013-E92D-46FF-8DF2-E3FB40AAE917}" destId="{8255C88A-F08C-46E6-B0C6-5571F2D0DC9B}" srcOrd="1" destOrd="0" parTransId="{37D1C68E-BFD3-4080-9DF6-D9D2316F0724}" sibTransId="{D66FA3C3-05BF-4FF2-B2BA-A7CFD3104A00}"/>
    <dgm:cxn modelId="{C5CEEA89-BFB9-4633-BC18-58CB18BDA24F}" type="presOf" srcId="{E6B7415F-41AE-46B5-BFC9-737584FE6827}" destId="{98CCB0F4-16B8-4109-B453-EAA6FB561D0C}" srcOrd="0" destOrd="0" presId="urn:microsoft.com/office/officeart/2005/8/layout/vList2"/>
    <dgm:cxn modelId="{44ABD58A-42AE-4296-B094-29F86500D3A8}" type="presOf" srcId="{5E0264A1-A044-402E-9DCD-DD6262316D90}" destId="{A50A7BBB-943C-4134-89BF-DC8CA300F1AC}" srcOrd="0" destOrd="0" presId="urn:microsoft.com/office/officeart/2005/8/layout/vList2"/>
    <dgm:cxn modelId="{218DAB9D-BDB4-49DD-8C10-3B418CD44C58}" type="presOf" srcId="{CC81A013-E92D-46FF-8DF2-E3FB40AAE917}" destId="{84F5C557-BA97-4664-AB76-D06F883D5CBD}" srcOrd="0" destOrd="0" presId="urn:microsoft.com/office/officeart/2005/8/layout/vList2"/>
    <dgm:cxn modelId="{2BD840DC-3D03-4EFB-9D26-D8BC8974A4CC}" srcId="{1785E7F1-ED75-41E1-9CD3-617D30922D03}" destId="{EE728A8B-070B-4E96-82B8-74A5E9221D69}" srcOrd="1" destOrd="0" parTransId="{CAEFCFB0-26A4-4D6F-B5EB-D1EF47A6E4FA}" sibTransId="{A0C26801-2295-47AE-842D-7FAF1BDC7DDB}"/>
    <dgm:cxn modelId="{2A3E32E2-7DFD-4E74-8C37-7E877D3EE37A}" type="presOf" srcId="{1A5CF1FD-8847-4810-B583-D8E5707E3BC7}" destId="{62C5579D-D99F-4DA8-91AC-CB6F57C85D18}" srcOrd="0" destOrd="0" presId="urn:microsoft.com/office/officeart/2005/8/layout/vList2"/>
    <dgm:cxn modelId="{07BC28E4-2F30-4134-8376-D7B73DEECEAC}" srcId="{CC81A013-E92D-46FF-8DF2-E3FB40AAE917}" destId="{11FE68B2-45C1-4E78-8285-0103D4B67341}" srcOrd="0" destOrd="0" parTransId="{01A85887-4B7C-4530-B08F-64338A44D7F0}" sibTransId="{9F2D3850-264E-4867-A624-E27E50787749}"/>
    <dgm:cxn modelId="{20504BE9-0119-4193-983A-F5F32DE5E03C}" type="presOf" srcId="{CA82A5DA-8153-493A-ADD5-316A0D209425}" destId="{43B47D74-38D7-4DD1-B257-8C59E82928FC}" srcOrd="0" destOrd="0" presId="urn:microsoft.com/office/officeart/2005/8/layout/vList2"/>
    <dgm:cxn modelId="{5DF333F6-F140-4B67-BAC9-706EE87D6D7D}" type="presOf" srcId="{31D4E3A8-238A-43CC-9673-8A5CFF911DCC}" destId="{F777EA45-D269-46D8-80A9-3020D0D3EA35}" srcOrd="0" destOrd="2" presId="urn:microsoft.com/office/officeart/2005/8/layout/vList2"/>
    <dgm:cxn modelId="{C21E15BB-1C35-4CB7-B066-34E6CFAD6C54}" type="presParOf" srcId="{A50A7BBB-943C-4134-89BF-DC8CA300F1AC}" destId="{98CCB0F4-16B8-4109-B453-EAA6FB561D0C}" srcOrd="0" destOrd="0" presId="urn:microsoft.com/office/officeart/2005/8/layout/vList2"/>
    <dgm:cxn modelId="{2A734677-E294-420F-93E9-7689A2A14D66}" type="presParOf" srcId="{A50A7BBB-943C-4134-89BF-DC8CA300F1AC}" destId="{62C5579D-D99F-4DA8-91AC-CB6F57C85D18}" srcOrd="1" destOrd="0" presId="urn:microsoft.com/office/officeart/2005/8/layout/vList2"/>
    <dgm:cxn modelId="{F2D833FE-2DF9-4CBA-9D5F-3FFAE7E11B14}" type="presParOf" srcId="{A50A7BBB-943C-4134-89BF-DC8CA300F1AC}" destId="{84F5C557-BA97-4664-AB76-D06F883D5CBD}" srcOrd="2" destOrd="0" presId="urn:microsoft.com/office/officeart/2005/8/layout/vList2"/>
    <dgm:cxn modelId="{F1EDC2CF-3B4E-415D-B4A2-88F5A6B739D4}" type="presParOf" srcId="{A50A7BBB-943C-4134-89BF-DC8CA300F1AC}" destId="{F777EA45-D269-46D8-80A9-3020D0D3EA35}" srcOrd="3" destOrd="0" presId="urn:microsoft.com/office/officeart/2005/8/layout/vList2"/>
    <dgm:cxn modelId="{9F94AAC9-819A-4A14-86DE-9006388722EC}" type="presParOf" srcId="{A50A7BBB-943C-4134-89BF-DC8CA300F1AC}" destId="{17809C47-9500-41D0-A865-B79CA4691ABA}" srcOrd="4" destOrd="0" presId="urn:microsoft.com/office/officeart/2005/8/layout/vList2"/>
    <dgm:cxn modelId="{464FCBE6-28BD-412D-84D1-59CABFCB66E2}" type="presParOf" srcId="{A50A7BBB-943C-4134-89BF-DC8CA300F1AC}" destId="{43B47D74-38D7-4DD1-B257-8C59E82928FC}"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BB4547D-83BE-4245-83E2-2E7B3C61389B}"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5E35C6DD-60C3-4DDE-B7C0-376DFC5E38CA}">
      <dgm:prSet/>
      <dgm:spPr/>
      <dgm:t>
        <a:bodyPr/>
        <a:lstStyle/>
        <a:p>
          <a:r>
            <a:rPr lang="en-US" baseline="0" dirty="0"/>
            <a:t>Offers nodes of processors each with its own bus for access for local memory.</a:t>
          </a:r>
          <a:endParaRPr lang="en-US" dirty="0"/>
        </a:p>
      </dgm:t>
    </dgm:pt>
    <dgm:pt modelId="{D1095216-1915-489B-B058-FE3145735265}" type="parTrans" cxnId="{63F618C8-2C57-4C90-8408-98A91A67E810}">
      <dgm:prSet/>
      <dgm:spPr/>
      <dgm:t>
        <a:bodyPr/>
        <a:lstStyle/>
        <a:p>
          <a:endParaRPr lang="en-US"/>
        </a:p>
      </dgm:t>
    </dgm:pt>
    <dgm:pt modelId="{D2B5F243-684E-4B4E-A42E-FF10F284B4AD}" type="sibTrans" cxnId="{63F618C8-2C57-4C90-8408-98A91A67E810}">
      <dgm:prSet/>
      <dgm:spPr/>
      <dgm:t>
        <a:bodyPr/>
        <a:lstStyle/>
        <a:p>
          <a:endParaRPr lang="en-US"/>
        </a:p>
      </dgm:t>
    </dgm:pt>
    <dgm:pt modelId="{CF77C956-A4C5-477D-B3A4-2BBF67E0A819}">
      <dgm:prSet/>
      <dgm:spPr/>
      <dgm:t>
        <a:bodyPr/>
        <a:lstStyle/>
        <a:p>
          <a:r>
            <a:rPr lang="en-US" baseline="0" dirty="0"/>
            <a:t>Interconnect between nodes allows one node to get to other’s memory.</a:t>
          </a:r>
          <a:endParaRPr lang="en-US" dirty="0"/>
        </a:p>
      </dgm:t>
    </dgm:pt>
    <dgm:pt modelId="{49E84C9B-7A11-4292-8E08-544B09ED0D7E}" type="parTrans" cxnId="{DAB9408A-EDAD-4536-A0D8-B7F075236E56}">
      <dgm:prSet/>
      <dgm:spPr/>
      <dgm:t>
        <a:bodyPr/>
        <a:lstStyle/>
        <a:p>
          <a:endParaRPr lang="en-US"/>
        </a:p>
      </dgm:t>
    </dgm:pt>
    <dgm:pt modelId="{C6D80A75-2D6A-427D-88C8-A3C6BE27E51C}" type="sibTrans" cxnId="{DAB9408A-EDAD-4536-A0D8-B7F075236E56}">
      <dgm:prSet/>
      <dgm:spPr/>
      <dgm:t>
        <a:bodyPr/>
        <a:lstStyle/>
        <a:p>
          <a:endParaRPr lang="en-US"/>
        </a:p>
      </dgm:t>
    </dgm:pt>
    <dgm:pt modelId="{27C18824-2385-4E55-909F-DB237CDDA87C}">
      <dgm:prSet/>
      <dgm:spPr/>
      <dgm:t>
        <a:bodyPr/>
        <a:lstStyle/>
        <a:p>
          <a:r>
            <a:rPr lang="en-US" baseline="0" dirty="0"/>
            <a:t>Offers scalability for NUMA-aware applications.</a:t>
          </a:r>
          <a:endParaRPr lang="en-US" dirty="0"/>
        </a:p>
      </dgm:t>
    </dgm:pt>
    <dgm:pt modelId="{AD2A8F49-ECEE-4CC9-8BC5-A1EDA3326EB5}" type="parTrans" cxnId="{3D0517F3-6AC5-4AE4-94F5-0E30EF202E4B}">
      <dgm:prSet/>
      <dgm:spPr/>
      <dgm:t>
        <a:bodyPr/>
        <a:lstStyle/>
        <a:p>
          <a:endParaRPr lang="en-US"/>
        </a:p>
      </dgm:t>
    </dgm:pt>
    <dgm:pt modelId="{7FF2C05A-8532-4DC8-97EB-3FC0616B4037}" type="sibTrans" cxnId="{3D0517F3-6AC5-4AE4-94F5-0E30EF202E4B}">
      <dgm:prSet/>
      <dgm:spPr/>
      <dgm:t>
        <a:bodyPr/>
        <a:lstStyle/>
        <a:p>
          <a:endParaRPr lang="en-US"/>
        </a:p>
      </dgm:t>
    </dgm:pt>
    <dgm:pt modelId="{106F2A27-60D3-44D3-8FDE-C402658D733D}">
      <dgm:prSet/>
      <dgm:spPr/>
      <dgm:t>
        <a:bodyPr/>
        <a:lstStyle/>
        <a:p>
          <a:r>
            <a:rPr lang="en-US" baseline="0" dirty="0"/>
            <a:t>NUMA-aware applications such as SQL Server try to avoid remote or foreign memory access.</a:t>
          </a:r>
          <a:endParaRPr lang="en-US" dirty="0"/>
        </a:p>
      </dgm:t>
    </dgm:pt>
    <dgm:pt modelId="{E52DA73A-5241-499F-87F5-5A8246823D3F}" type="parTrans" cxnId="{FA512C5C-4698-40C0-9F54-DCBDB9810951}">
      <dgm:prSet/>
      <dgm:spPr/>
      <dgm:t>
        <a:bodyPr/>
        <a:lstStyle/>
        <a:p>
          <a:endParaRPr lang="en-US"/>
        </a:p>
      </dgm:t>
    </dgm:pt>
    <dgm:pt modelId="{1569066D-ED86-4AD9-BE8D-9BFFA548C7AD}" type="sibTrans" cxnId="{FA512C5C-4698-40C0-9F54-DCBDB9810951}">
      <dgm:prSet/>
      <dgm:spPr/>
      <dgm:t>
        <a:bodyPr/>
        <a:lstStyle/>
        <a:p>
          <a:endParaRPr lang="en-US"/>
        </a:p>
      </dgm:t>
    </dgm:pt>
    <dgm:pt modelId="{BA878CBB-706E-4398-AAAF-B2702F6CC566}" type="pres">
      <dgm:prSet presAssocID="{4BB4547D-83BE-4245-83E2-2E7B3C61389B}" presName="diagram" presStyleCnt="0">
        <dgm:presLayoutVars>
          <dgm:dir/>
          <dgm:resizeHandles val="exact"/>
        </dgm:presLayoutVars>
      </dgm:prSet>
      <dgm:spPr/>
    </dgm:pt>
    <dgm:pt modelId="{6E3D2E56-F5FA-47DF-99FE-EE35C3EC9717}" type="pres">
      <dgm:prSet presAssocID="{5E35C6DD-60C3-4DDE-B7C0-376DFC5E38CA}" presName="node" presStyleLbl="node1" presStyleIdx="0" presStyleCnt="4">
        <dgm:presLayoutVars>
          <dgm:bulletEnabled val="1"/>
        </dgm:presLayoutVars>
      </dgm:prSet>
      <dgm:spPr/>
    </dgm:pt>
    <dgm:pt modelId="{876A1180-FECC-4531-B2F1-3121A3DCBB18}" type="pres">
      <dgm:prSet presAssocID="{D2B5F243-684E-4B4E-A42E-FF10F284B4AD}" presName="sibTrans" presStyleCnt="0"/>
      <dgm:spPr/>
    </dgm:pt>
    <dgm:pt modelId="{820BEEF5-8BBB-4553-9D10-CFDA1284F546}" type="pres">
      <dgm:prSet presAssocID="{CF77C956-A4C5-477D-B3A4-2BBF67E0A819}" presName="node" presStyleLbl="node1" presStyleIdx="1" presStyleCnt="4">
        <dgm:presLayoutVars>
          <dgm:bulletEnabled val="1"/>
        </dgm:presLayoutVars>
      </dgm:prSet>
      <dgm:spPr/>
    </dgm:pt>
    <dgm:pt modelId="{C00228A3-4131-4485-9FA4-FEF2F61E8339}" type="pres">
      <dgm:prSet presAssocID="{C6D80A75-2D6A-427D-88C8-A3C6BE27E51C}" presName="sibTrans" presStyleCnt="0"/>
      <dgm:spPr/>
    </dgm:pt>
    <dgm:pt modelId="{8A556292-B4FF-4026-B45E-729DE89B2F7F}" type="pres">
      <dgm:prSet presAssocID="{27C18824-2385-4E55-909F-DB237CDDA87C}" presName="node" presStyleLbl="node1" presStyleIdx="2" presStyleCnt="4">
        <dgm:presLayoutVars>
          <dgm:bulletEnabled val="1"/>
        </dgm:presLayoutVars>
      </dgm:prSet>
      <dgm:spPr/>
    </dgm:pt>
    <dgm:pt modelId="{5BD874A4-4BAF-4223-85AB-E542A153E3B5}" type="pres">
      <dgm:prSet presAssocID="{7FF2C05A-8532-4DC8-97EB-3FC0616B4037}" presName="sibTrans" presStyleCnt="0"/>
      <dgm:spPr/>
    </dgm:pt>
    <dgm:pt modelId="{7ACA7951-936A-47DD-B627-F33AAD9720D2}" type="pres">
      <dgm:prSet presAssocID="{106F2A27-60D3-44D3-8FDE-C402658D733D}" presName="node" presStyleLbl="node1" presStyleIdx="3" presStyleCnt="4">
        <dgm:presLayoutVars>
          <dgm:bulletEnabled val="1"/>
        </dgm:presLayoutVars>
      </dgm:prSet>
      <dgm:spPr/>
    </dgm:pt>
  </dgm:ptLst>
  <dgm:cxnLst>
    <dgm:cxn modelId="{D4F57C14-425A-4862-B22D-9EF59BA5F996}" type="presOf" srcId="{4BB4547D-83BE-4245-83E2-2E7B3C61389B}" destId="{BA878CBB-706E-4398-AAAF-B2702F6CC566}" srcOrd="0" destOrd="0" presId="urn:microsoft.com/office/officeart/2005/8/layout/default"/>
    <dgm:cxn modelId="{8224A227-4841-4650-A899-0CB838802BE4}" type="presOf" srcId="{106F2A27-60D3-44D3-8FDE-C402658D733D}" destId="{7ACA7951-936A-47DD-B627-F33AAD9720D2}" srcOrd="0" destOrd="0" presId="urn:microsoft.com/office/officeart/2005/8/layout/default"/>
    <dgm:cxn modelId="{22EEED3B-E332-4C5F-91AA-DD3706B3F192}" type="presOf" srcId="{5E35C6DD-60C3-4DDE-B7C0-376DFC5E38CA}" destId="{6E3D2E56-F5FA-47DF-99FE-EE35C3EC9717}" srcOrd="0" destOrd="0" presId="urn:microsoft.com/office/officeart/2005/8/layout/default"/>
    <dgm:cxn modelId="{FA512C5C-4698-40C0-9F54-DCBDB9810951}" srcId="{4BB4547D-83BE-4245-83E2-2E7B3C61389B}" destId="{106F2A27-60D3-44D3-8FDE-C402658D733D}" srcOrd="3" destOrd="0" parTransId="{E52DA73A-5241-499F-87F5-5A8246823D3F}" sibTransId="{1569066D-ED86-4AD9-BE8D-9BFFA548C7AD}"/>
    <dgm:cxn modelId="{DAB9408A-EDAD-4536-A0D8-B7F075236E56}" srcId="{4BB4547D-83BE-4245-83E2-2E7B3C61389B}" destId="{CF77C956-A4C5-477D-B3A4-2BBF67E0A819}" srcOrd="1" destOrd="0" parTransId="{49E84C9B-7A11-4292-8E08-544B09ED0D7E}" sibTransId="{C6D80A75-2D6A-427D-88C8-A3C6BE27E51C}"/>
    <dgm:cxn modelId="{FE393AC7-B567-477E-A89C-63E141C0920E}" type="presOf" srcId="{CF77C956-A4C5-477D-B3A4-2BBF67E0A819}" destId="{820BEEF5-8BBB-4553-9D10-CFDA1284F546}" srcOrd="0" destOrd="0" presId="urn:microsoft.com/office/officeart/2005/8/layout/default"/>
    <dgm:cxn modelId="{63F618C8-2C57-4C90-8408-98A91A67E810}" srcId="{4BB4547D-83BE-4245-83E2-2E7B3C61389B}" destId="{5E35C6DD-60C3-4DDE-B7C0-376DFC5E38CA}" srcOrd="0" destOrd="0" parTransId="{D1095216-1915-489B-B058-FE3145735265}" sibTransId="{D2B5F243-684E-4B4E-A42E-FF10F284B4AD}"/>
    <dgm:cxn modelId="{22F630E8-7A63-411E-B9E1-1096AF1CA6A9}" type="presOf" srcId="{27C18824-2385-4E55-909F-DB237CDDA87C}" destId="{8A556292-B4FF-4026-B45E-729DE89B2F7F}" srcOrd="0" destOrd="0" presId="urn:microsoft.com/office/officeart/2005/8/layout/default"/>
    <dgm:cxn modelId="{3D0517F3-6AC5-4AE4-94F5-0E30EF202E4B}" srcId="{4BB4547D-83BE-4245-83E2-2E7B3C61389B}" destId="{27C18824-2385-4E55-909F-DB237CDDA87C}" srcOrd="2" destOrd="0" parTransId="{AD2A8F49-ECEE-4CC9-8BC5-A1EDA3326EB5}" sibTransId="{7FF2C05A-8532-4DC8-97EB-3FC0616B4037}"/>
    <dgm:cxn modelId="{CDF1E0E1-42FE-4CDD-A80D-C2D0F9CCF803}" type="presParOf" srcId="{BA878CBB-706E-4398-AAAF-B2702F6CC566}" destId="{6E3D2E56-F5FA-47DF-99FE-EE35C3EC9717}" srcOrd="0" destOrd="0" presId="urn:microsoft.com/office/officeart/2005/8/layout/default"/>
    <dgm:cxn modelId="{C1750C7B-92A4-4A49-9DE6-3A384B457E0D}" type="presParOf" srcId="{BA878CBB-706E-4398-AAAF-B2702F6CC566}" destId="{876A1180-FECC-4531-B2F1-3121A3DCBB18}" srcOrd="1" destOrd="0" presId="urn:microsoft.com/office/officeart/2005/8/layout/default"/>
    <dgm:cxn modelId="{75E22FCC-C006-4AFB-9C24-E7CB2396F27A}" type="presParOf" srcId="{BA878CBB-706E-4398-AAAF-B2702F6CC566}" destId="{820BEEF5-8BBB-4553-9D10-CFDA1284F546}" srcOrd="2" destOrd="0" presId="urn:microsoft.com/office/officeart/2005/8/layout/default"/>
    <dgm:cxn modelId="{4A13A7FC-ED04-4FB7-97D2-207A47F5646B}" type="presParOf" srcId="{BA878CBB-706E-4398-AAAF-B2702F6CC566}" destId="{C00228A3-4131-4485-9FA4-FEF2F61E8339}" srcOrd="3" destOrd="0" presId="urn:microsoft.com/office/officeart/2005/8/layout/default"/>
    <dgm:cxn modelId="{3E7159FA-D483-43C1-870B-737A68440088}" type="presParOf" srcId="{BA878CBB-706E-4398-AAAF-B2702F6CC566}" destId="{8A556292-B4FF-4026-B45E-729DE89B2F7F}" srcOrd="4" destOrd="0" presId="urn:microsoft.com/office/officeart/2005/8/layout/default"/>
    <dgm:cxn modelId="{F0BB8A58-85C3-4C7A-9EC5-EC17B9B53071}" type="presParOf" srcId="{BA878CBB-706E-4398-AAAF-B2702F6CC566}" destId="{5BD874A4-4BAF-4223-85AB-E542A153E3B5}" srcOrd="5" destOrd="0" presId="urn:microsoft.com/office/officeart/2005/8/layout/default"/>
    <dgm:cxn modelId="{9BA0B4A7-E1C9-42A2-A6D3-E927C9AFAE37}" type="presParOf" srcId="{BA878CBB-706E-4398-AAAF-B2702F6CC566}" destId="{7ACA7951-936A-47DD-B627-F33AAD9720D2}"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29AD67D-15AB-4800-B140-4283EDB8C273}" type="doc">
      <dgm:prSet loTypeId="urn:microsoft.com/office/officeart/2005/8/layout/orgChart1" loCatId="hierarchy" qsTypeId="urn:microsoft.com/office/officeart/2005/8/quickstyle/simple5" qsCatId="simple" csTypeId="urn:microsoft.com/office/officeart/2005/8/colors/accent2_4" csCatId="accent2" phldr="1"/>
      <dgm:spPr/>
    </dgm:pt>
    <dgm:pt modelId="{F9D2F056-2B24-4941-AE46-682EC9AA5229}">
      <dgm:prSet custT="1"/>
      <dgm:spPr>
        <a:xfrm>
          <a:off x="1147646" y="1720540"/>
          <a:ext cx="723799" cy="344347"/>
        </a:xfrm>
        <a:prstGeom prst="rect">
          <a:avLst/>
        </a:prstGeom>
        <a:gradFill rotWithShape="0">
          <a:gsLst>
            <a:gs pos="0">
              <a:srgbClr val="15AEEF">
                <a:shade val="60000"/>
                <a:hueOff val="0"/>
                <a:satOff val="0"/>
                <a:lumOff val="0"/>
                <a:alphaOff val="0"/>
                <a:tint val="100000"/>
                <a:shade val="100000"/>
                <a:satMod val="130000"/>
              </a:srgbClr>
            </a:gs>
            <a:gs pos="100000">
              <a:srgbClr val="15AEEF">
                <a:shade val="6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cap="none" normalizeH="0" baseline="0" dirty="0">
              <a:ln/>
              <a:solidFill>
                <a:sysClr val="window" lastClr="FFFFFF"/>
              </a:solidFill>
              <a:effectLst/>
              <a:latin typeface="Franklin Gothic Medium" pitchFamily="34" charset="0"/>
              <a:ea typeface="+mn-ea"/>
              <a:cs typeface="Arial" pitchFamily="34" charset="0"/>
            </a:rPr>
            <a:t>Memory</a:t>
          </a:r>
          <a:endParaRPr kumimoji="0" lang="en-US" sz="1800" b="0" i="0" u="none" strike="noStrike" cap="none" normalizeH="0" baseline="0" dirty="0">
            <a:ln/>
            <a:solidFill>
              <a:sysClr val="window" lastClr="FFFFFF"/>
            </a:solidFill>
            <a:effectLst/>
            <a:latin typeface="Franklin Gothic Medium" pitchFamily="34" charset="0"/>
            <a:ea typeface="+mn-ea"/>
            <a:cs typeface="Arial" pitchFamily="34" charset="0"/>
          </a:endParaRPr>
        </a:p>
      </dgm:t>
    </dgm:pt>
    <dgm:pt modelId="{E823F2B0-63EC-4454-AD04-005E85A13952}" type="parTrans" cxnId="{DF4D1A32-2A01-4BC8-93E0-42CD47D67D79}">
      <dgm:prSet/>
      <dgm:spPr/>
      <dgm:t>
        <a:bodyPr/>
        <a:lstStyle/>
        <a:p>
          <a:pPr rtl="1"/>
          <a:endParaRPr lang="he-IL"/>
        </a:p>
      </dgm:t>
    </dgm:pt>
    <dgm:pt modelId="{D150A804-694E-4A09-B85E-05CCAAE05494}" type="sibTrans" cxnId="{DF4D1A32-2A01-4BC8-93E0-42CD47D67D79}">
      <dgm:prSet/>
      <dgm:spPr/>
      <dgm:t>
        <a:bodyPr/>
        <a:lstStyle/>
        <a:p>
          <a:pPr rtl="1"/>
          <a:endParaRPr lang="he-IL"/>
        </a:p>
      </dgm:t>
    </dgm:pt>
    <dgm:pt modelId="{B3F5C8B2-73EA-448C-8E97-6FCFD2E2A176}">
      <dgm:prSet custT="1"/>
      <dgm:spPr>
        <a:xfrm>
          <a:off x="176561" y="740679"/>
          <a:ext cx="723799"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100" b="0" i="1" u="none" strike="noStrike" cap="none" normalizeH="0" baseline="0" dirty="0">
              <a:ln/>
              <a:solidFill>
                <a:sysClr val="window" lastClr="FFFFFF"/>
              </a:solidFill>
              <a:effectLst/>
              <a:latin typeface="Segoe UI Light" panose="020B0502040204020203" pitchFamily="34" charset="0"/>
              <a:ea typeface="+mn-ea"/>
              <a:cs typeface="Arial" pitchFamily="34" charset="0"/>
            </a:rPr>
            <a:t>0</a:t>
          </a:r>
        </a:p>
      </dgm:t>
    </dgm:pt>
    <dgm:pt modelId="{6C967068-FB78-43BA-A391-29571B410BF7}" type="parTrans" cxnId="{1472B110-BFED-4134-AF42-D53827AA21F3}">
      <dgm:prSet/>
      <dgm:spPr>
        <a:xfrm>
          <a:off x="538461" y="740679"/>
          <a:ext cx="971084" cy="1324208"/>
        </a:xfrm>
        <a:custGeom>
          <a:avLst/>
          <a:gdLst/>
          <a:ahLst/>
          <a:cxnLst/>
          <a:rect l="0" t="0" r="0" b="0"/>
          <a:pathLst>
            <a:path>
              <a:moveTo>
                <a:pt x="971084" y="1324208"/>
              </a:moveTo>
              <a:lnTo>
                <a:pt x="0"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solidFill>
              <a:schemeClr val="bg1"/>
            </a:solidFill>
          </a:endParaRPr>
        </a:p>
      </dgm:t>
    </dgm:pt>
    <dgm:pt modelId="{6746450F-7B49-400A-ABE6-7AC774DD063F}" type="sibTrans" cxnId="{1472B110-BFED-4134-AF42-D53827AA21F3}">
      <dgm:prSet/>
      <dgm:spPr/>
      <dgm:t>
        <a:bodyPr/>
        <a:lstStyle/>
        <a:p>
          <a:pPr rtl="1"/>
          <a:endParaRPr lang="he-IL"/>
        </a:p>
      </dgm:t>
    </dgm:pt>
    <dgm:pt modelId="{21AAE182-A9C0-4951-AEE9-941B8D83ADA2}">
      <dgm:prSet custT="1"/>
      <dgm:spPr>
        <a:xfrm>
          <a:off x="176561" y="1367416"/>
          <a:ext cx="723799"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200" b="0" i="1" u="none" strike="noStrike" cap="none" normalizeH="0" baseline="0" dirty="0">
              <a:ln/>
              <a:solidFill>
                <a:sysClr val="window" lastClr="FFFFFF"/>
              </a:solidFill>
              <a:effectLst/>
              <a:latin typeface="Segoe UI Light" panose="020B0502040204020203" pitchFamily="34" charset="0"/>
              <a:ea typeface="+mn-ea"/>
              <a:cs typeface="Arial" pitchFamily="34" charset="0"/>
            </a:rPr>
            <a:t>1</a:t>
          </a:r>
        </a:p>
      </dgm:t>
    </dgm:pt>
    <dgm:pt modelId="{B6B4DBF6-DA53-4F18-9E87-2380176B898B}" type="parTrans" cxnId="{7E3459BE-F151-4C16-8F74-EAAA099FC15B}">
      <dgm:prSet/>
      <dgm:spPr>
        <a:xfrm>
          <a:off x="538461" y="1367416"/>
          <a:ext cx="971084" cy="697470"/>
        </a:xfrm>
        <a:custGeom>
          <a:avLst/>
          <a:gdLst/>
          <a:ahLst/>
          <a:cxnLst/>
          <a:rect l="0" t="0" r="0" b="0"/>
          <a:pathLst>
            <a:path>
              <a:moveTo>
                <a:pt x="971084" y="697470"/>
              </a:moveTo>
              <a:lnTo>
                <a:pt x="0"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p>
      </dgm:t>
    </dgm:pt>
    <dgm:pt modelId="{50112C5F-5D39-48B3-9B66-56047894EEF4}" type="sibTrans" cxnId="{7E3459BE-F151-4C16-8F74-EAAA099FC15B}">
      <dgm:prSet/>
      <dgm:spPr/>
      <dgm:t>
        <a:bodyPr/>
        <a:lstStyle/>
        <a:p>
          <a:pPr rtl="1"/>
          <a:endParaRPr lang="he-IL"/>
        </a:p>
      </dgm:t>
    </dgm:pt>
    <dgm:pt modelId="{7A8536A3-696D-40E5-B567-31E4D7C65631}">
      <dgm:prSet custT="1"/>
      <dgm:spPr>
        <a:xfrm>
          <a:off x="2118731" y="1367416"/>
          <a:ext cx="723799"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200" b="0" i="1" u="none" strike="noStrike" cap="none" normalizeH="0" baseline="0" dirty="0">
              <a:ln/>
              <a:solidFill>
                <a:sysClr val="window" lastClr="FFFFFF"/>
              </a:solidFill>
              <a:effectLst/>
              <a:latin typeface="Segoe UI Light" panose="020B0502040204020203" pitchFamily="34" charset="0"/>
              <a:ea typeface="+mn-ea"/>
              <a:cs typeface="Arial" pitchFamily="34" charset="0"/>
            </a:rPr>
            <a:t>3</a:t>
          </a:r>
        </a:p>
      </dgm:t>
    </dgm:pt>
    <dgm:pt modelId="{D73A74BC-65C4-40E2-AEBE-5CAF32C0E3AA}" type="sibTrans" cxnId="{5DD7860C-1812-44DC-823D-0DD37A3347AE}">
      <dgm:prSet/>
      <dgm:spPr/>
      <dgm:t>
        <a:bodyPr/>
        <a:lstStyle/>
        <a:p>
          <a:pPr rtl="1"/>
          <a:endParaRPr lang="he-IL"/>
        </a:p>
      </dgm:t>
    </dgm:pt>
    <dgm:pt modelId="{A3A96FFA-0FAC-4A25-BA30-E0D87AA7C7BD}" type="parTrans" cxnId="{5DD7860C-1812-44DC-823D-0DD37A3347AE}">
      <dgm:prSet/>
      <dgm:spPr>
        <a:xfrm>
          <a:off x="1509546" y="1367416"/>
          <a:ext cx="971084" cy="697470"/>
        </a:xfrm>
        <a:custGeom>
          <a:avLst/>
          <a:gdLst/>
          <a:ahLst/>
          <a:cxnLst/>
          <a:rect l="0" t="0" r="0" b="0"/>
          <a:pathLst>
            <a:path>
              <a:moveTo>
                <a:pt x="0" y="697470"/>
              </a:moveTo>
              <a:lnTo>
                <a:pt x="971084"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p>
      </dgm:t>
    </dgm:pt>
    <dgm:pt modelId="{627030F9-1644-4702-B98F-7CC5ACE2B44E}">
      <dgm:prSet custT="1"/>
      <dgm:spPr>
        <a:xfrm>
          <a:off x="2118731" y="740679"/>
          <a:ext cx="723799"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200" b="0" i="1" u="none" strike="noStrike" cap="none" normalizeH="0" baseline="0" dirty="0">
              <a:ln/>
              <a:solidFill>
                <a:sysClr val="window" lastClr="FFFFFF"/>
              </a:solidFill>
              <a:effectLst/>
              <a:latin typeface="Segoe UI Light" panose="020B0502040204020203" pitchFamily="34" charset="0"/>
              <a:ea typeface="+mn-ea"/>
              <a:cs typeface="Arial" pitchFamily="34" charset="0"/>
            </a:rPr>
            <a:t>2</a:t>
          </a:r>
        </a:p>
      </dgm:t>
    </dgm:pt>
    <dgm:pt modelId="{60315462-15E4-4290-9B79-E504CB29A39A}" type="sibTrans" cxnId="{D5608FED-E1ED-45B9-ADF2-1E1C668267F2}">
      <dgm:prSet/>
      <dgm:spPr/>
      <dgm:t>
        <a:bodyPr/>
        <a:lstStyle/>
        <a:p>
          <a:pPr rtl="1"/>
          <a:endParaRPr lang="he-IL"/>
        </a:p>
      </dgm:t>
    </dgm:pt>
    <dgm:pt modelId="{1C0CBD50-C421-42AD-9764-B75F0A3EE42D}" type="parTrans" cxnId="{D5608FED-E1ED-45B9-ADF2-1E1C668267F2}">
      <dgm:prSet/>
      <dgm:spPr>
        <a:xfrm>
          <a:off x="1509546" y="740679"/>
          <a:ext cx="971084" cy="1324208"/>
        </a:xfrm>
        <a:custGeom>
          <a:avLst/>
          <a:gdLst/>
          <a:ahLst/>
          <a:cxnLst/>
          <a:rect l="0" t="0" r="0" b="0"/>
          <a:pathLst>
            <a:path>
              <a:moveTo>
                <a:pt x="0" y="1324208"/>
              </a:moveTo>
              <a:lnTo>
                <a:pt x="971084"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p>
      </dgm:t>
    </dgm:pt>
    <dgm:pt modelId="{5456468E-6E2A-4C50-974E-C6AC8F35F09A}" type="pres">
      <dgm:prSet presAssocID="{C29AD67D-15AB-4800-B140-4283EDB8C273}" presName="hierChild1" presStyleCnt="0">
        <dgm:presLayoutVars>
          <dgm:orgChart val="1"/>
          <dgm:chPref val="1"/>
          <dgm:dir/>
          <dgm:animOne val="branch"/>
          <dgm:animLvl val="lvl"/>
          <dgm:resizeHandles/>
        </dgm:presLayoutVars>
      </dgm:prSet>
      <dgm:spPr/>
    </dgm:pt>
    <dgm:pt modelId="{7951C76A-01AA-45E0-AA04-2C89C4D383DE}" type="pres">
      <dgm:prSet presAssocID="{F9D2F056-2B24-4941-AE46-682EC9AA5229}" presName="hierRoot1" presStyleCnt="0">
        <dgm:presLayoutVars>
          <dgm:hierBranch/>
        </dgm:presLayoutVars>
      </dgm:prSet>
      <dgm:spPr/>
    </dgm:pt>
    <dgm:pt modelId="{77445DB7-D177-4B8B-9710-FF2F8FD63E45}" type="pres">
      <dgm:prSet presAssocID="{F9D2F056-2B24-4941-AE46-682EC9AA5229}" presName="rootComposite1" presStyleCnt="0"/>
      <dgm:spPr/>
    </dgm:pt>
    <dgm:pt modelId="{4E768D9A-5D33-4282-ACB8-676D7C9134A9}" type="pres">
      <dgm:prSet presAssocID="{F9D2F056-2B24-4941-AE46-682EC9AA5229}" presName="rootText1" presStyleLbl="node0" presStyleIdx="0" presStyleCnt="1" custScaleY="95150" custLinFactY="30772" custLinFactNeighborX="-23181" custLinFactNeighborY="100000">
        <dgm:presLayoutVars>
          <dgm:chPref val="3"/>
        </dgm:presLayoutVars>
      </dgm:prSet>
      <dgm:spPr/>
    </dgm:pt>
    <dgm:pt modelId="{3DB81E40-F3CE-4B3A-B3B2-79E6A4CD7D55}" type="pres">
      <dgm:prSet presAssocID="{F9D2F056-2B24-4941-AE46-682EC9AA5229}" presName="rootConnector1" presStyleLbl="node1" presStyleIdx="0" presStyleCnt="0"/>
      <dgm:spPr/>
    </dgm:pt>
    <dgm:pt modelId="{8F5F264A-A554-4C9B-9422-A05493EB36B7}" type="pres">
      <dgm:prSet presAssocID="{F9D2F056-2B24-4941-AE46-682EC9AA5229}" presName="hierChild2" presStyleCnt="0"/>
      <dgm:spPr/>
    </dgm:pt>
    <dgm:pt modelId="{E38EF0F5-AA9C-450C-8E08-AC967303CB13}" type="pres">
      <dgm:prSet presAssocID="{6C967068-FB78-43BA-A391-29571B410BF7}" presName="Name35" presStyleLbl="parChTrans1D2" presStyleIdx="0" presStyleCnt="4"/>
      <dgm:spPr/>
    </dgm:pt>
    <dgm:pt modelId="{AD4AE5CD-E437-4723-87B7-AB4D9644F612}" type="pres">
      <dgm:prSet presAssocID="{B3F5C8B2-73EA-448C-8E97-6FCFD2E2A176}" presName="hierRoot2" presStyleCnt="0">
        <dgm:presLayoutVars>
          <dgm:hierBranch/>
        </dgm:presLayoutVars>
      </dgm:prSet>
      <dgm:spPr/>
    </dgm:pt>
    <dgm:pt modelId="{4C30F885-7E06-4B8A-ADFE-CB72EF282C1F}" type="pres">
      <dgm:prSet presAssocID="{B3F5C8B2-73EA-448C-8E97-6FCFD2E2A176}" presName="rootComposite" presStyleCnt="0"/>
      <dgm:spPr/>
    </dgm:pt>
    <dgm:pt modelId="{BA979EF0-F577-453D-B0F7-F9814923326E}" type="pres">
      <dgm:prSet presAssocID="{B3F5C8B2-73EA-448C-8E97-6FCFD2E2A176}" presName="rootText" presStyleLbl="node2" presStyleIdx="0" presStyleCnt="4" custLinFactY="-100000" custLinFactNeighborX="24154" custLinFactNeighborY="-177133">
        <dgm:presLayoutVars>
          <dgm:chPref val="3"/>
        </dgm:presLayoutVars>
      </dgm:prSet>
      <dgm:spPr/>
    </dgm:pt>
    <dgm:pt modelId="{7D1BF179-8A85-4BF9-B7EC-7E1CB4B4F0B2}" type="pres">
      <dgm:prSet presAssocID="{B3F5C8B2-73EA-448C-8E97-6FCFD2E2A176}" presName="rootConnector" presStyleLbl="node2" presStyleIdx="0" presStyleCnt="4"/>
      <dgm:spPr/>
    </dgm:pt>
    <dgm:pt modelId="{E10BF1AE-6C94-48F1-827D-8AA4665E0495}" type="pres">
      <dgm:prSet presAssocID="{B3F5C8B2-73EA-448C-8E97-6FCFD2E2A176}" presName="hierChild4" presStyleCnt="0"/>
      <dgm:spPr/>
    </dgm:pt>
    <dgm:pt modelId="{F889297E-0383-4D06-AE69-E4C3D61ABB59}" type="pres">
      <dgm:prSet presAssocID="{B3F5C8B2-73EA-448C-8E97-6FCFD2E2A176}" presName="hierChild5" presStyleCnt="0"/>
      <dgm:spPr/>
    </dgm:pt>
    <dgm:pt modelId="{F4C20A29-EA04-42CA-A084-E4743416D138}" type="pres">
      <dgm:prSet presAssocID="{B6B4DBF6-DA53-4F18-9E87-2380176B898B}" presName="Name35" presStyleLbl="parChTrans1D2" presStyleIdx="1" presStyleCnt="4"/>
      <dgm:spPr/>
    </dgm:pt>
    <dgm:pt modelId="{07E299C4-D286-4F28-8E8A-A9EDA7A5A649}" type="pres">
      <dgm:prSet presAssocID="{21AAE182-A9C0-4951-AEE9-941B8D83ADA2}" presName="hierRoot2" presStyleCnt="0">
        <dgm:presLayoutVars>
          <dgm:hierBranch/>
        </dgm:presLayoutVars>
      </dgm:prSet>
      <dgm:spPr/>
    </dgm:pt>
    <dgm:pt modelId="{29E426D4-239E-400A-B852-5BB364B11140}" type="pres">
      <dgm:prSet presAssocID="{21AAE182-A9C0-4951-AEE9-941B8D83ADA2}" presName="rootComposite" presStyleCnt="0"/>
      <dgm:spPr/>
    </dgm:pt>
    <dgm:pt modelId="{DFF80925-FDD7-4B50-A9C2-C4E69E4A4EA1}" type="pres">
      <dgm:prSet presAssocID="{21AAE182-A9C0-4951-AEE9-941B8D83ADA2}" presName="rootText" presStyleLbl="node2" presStyleIdx="1" presStyleCnt="4" custLinFactY="-3953" custLinFactNeighborX="-96846" custLinFactNeighborY="-100000">
        <dgm:presLayoutVars>
          <dgm:chPref val="3"/>
        </dgm:presLayoutVars>
      </dgm:prSet>
      <dgm:spPr/>
    </dgm:pt>
    <dgm:pt modelId="{1B8E8C21-20A2-413D-8161-474E30AAD7A6}" type="pres">
      <dgm:prSet presAssocID="{21AAE182-A9C0-4951-AEE9-941B8D83ADA2}" presName="rootConnector" presStyleLbl="node2" presStyleIdx="1" presStyleCnt="4"/>
      <dgm:spPr/>
    </dgm:pt>
    <dgm:pt modelId="{691C3E33-6D1B-4E45-9945-87E943382CD9}" type="pres">
      <dgm:prSet presAssocID="{21AAE182-A9C0-4951-AEE9-941B8D83ADA2}" presName="hierChild4" presStyleCnt="0"/>
      <dgm:spPr/>
    </dgm:pt>
    <dgm:pt modelId="{64B3FE24-F6F4-4D34-A9A4-310028949194}" type="pres">
      <dgm:prSet presAssocID="{21AAE182-A9C0-4951-AEE9-941B8D83ADA2}" presName="hierChild5" presStyleCnt="0"/>
      <dgm:spPr/>
    </dgm:pt>
    <dgm:pt modelId="{28CCE6C5-2026-4781-B494-BDBB77F43612}" type="pres">
      <dgm:prSet presAssocID="{1C0CBD50-C421-42AD-9764-B75F0A3EE42D}" presName="Name35" presStyleLbl="parChTrans1D2" presStyleIdx="2" presStyleCnt="4"/>
      <dgm:spPr/>
    </dgm:pt>
    <dgm:pt modelId="{D59227FC-29B6-4773-82CF-D0486F16D86C}" type="pres">
      <dgm:prSet presAssocID="{627030F9-1644-4702-B98F-7CC5ACE2B44E}" presName="hierRoot2" presStyleCnt="0">
        <dgm:presLayoutVars>
          <dgm:hierBranch/>
        </dgm:presLayoutVars>
      </dgm:prSet>
      <dgm:spPr/>
    </dgm:pt>
    <dgm:pt modelId="{D0F21421-0744-4F4B-B0EB-95F189C02413}" type="pres">
      <dgm:prSet presAssocID="{627030F9-1644-4702-B98F-7CC5ACE2B44E}" presName="rootComposite" presStyleCnt="0"/>
      <dgm:spPr/>
    </dgm:pt>
    <dgm:pt modelId="{567716C5-C7FF-48D8-9391-8BAB0787B4CA}" type="pres">
      <dgm:prSet presAssocID="{627030F9-1644-4702-B98F-7CC5ACE2B44E}" presName="rootText" presStyleLbl="node2" presStyleIdx="2" presStyleCnt="4" custLinFactY="-100000" custLinFactNeighborX="50484" custLinFactNeighborY="-177133">
        <dgm:presLayoutVars>
          <dgm:chPref val="3"/>
        </dgm:presLayoutVars>
      </dgm:prSet>
      <dgm:spPr/>
    </dgm:pt>
    <dgm:pt modelId="{53A1C136-7B2C-4E4F-A056-5581ADB7CDB4}" type="pres">
      <dgm:prSet presAssocID="{627030F9-1644-4702-B98F-7CC5ACE2B44E}" presName="rootConnector" presStyleLbl="node2" presStyleIdx="2" presStyleCnt="4"/>
      <dgm:spPr/>
    </dgm:pt>
    <dgm:pt modelId="{F8189EB6-1364-4B7D-B053-A192B75C5A04}" type="pres">
      <dgm:prSet presAssocID="{627030F9-1644-4702-B98F-7CC5ACE2B44E}" presName="hierChild4" presStyleCnt="0"/>
      <dgm:spPr/>
    </dgm:pt>
    <dgm:pt modelId="{60CF431F-7031-44CE-A2B5-4ADEF359640B}" type="pres">
      <dgm:prSet presAssocID="{627030F9-1644-4702-B98F-7CC5ACE2B44E}" presName="hierChild5" presStyleCnt="0"/>
      <dgm:spPr/>
    </dgm:pt>
    <dgm:pt modelId="{E5DC8FF4-23D0-49C9-932F-367EA43A19A5}" type="pres">
      <dgm:prSet presAssocID="{A3A96FFA-0FAC-4A25-BA30-E0D87AA7C7BD}" presName="Name35" presStyleLbl="parChTrans1D2" presStyleIdx="3" presStyleCnt="4"/>
      <dgm:spPr/>
    </dgm:pt>
    <dgm:pt modelId="{D7FC8E9C-3660-4C74-A45C-90ACBD8A7CB3}" type="pres">
      <dgm:prSet presAssocID="{7A8536A3-696D-40E5-B567-31E4D7C65631}" presName="hierRoot2" presStyleCnt="0">
        <dgm:presLayoutVars>
          <dgm:hierBranch/>
        </dgm:presLayoutVars>
      </dgm:prSet>
      <dgm:spPr/>
    </dgm:pt>
    <dgm:pt modelId="{B38AB34E-442D-4AA7-A9AF-1574CDF60E2B}" type="pres">
      <dgm:prSet presAssocID="{7A8536A3-696D-40E5-B567-31E4D7C65631}" presName="rootComposite" presStyleCnt="0"/>
      <dgm:spPr/>
    </dgm:pt>
    <dgm:pt modelId="{CE0AA596-6A2A-4114-9BE9-34A64E0FB1FE}" type="pres">
      <dgm:prSet presAssocID="{7A8536A3-696D-40E5-B567-31E4D7C65631}" presName="rootText" presStyleLbl="node2" presStyleIdx="3" presStyleCnt="4" custLinFactY="-3953" custLinFactNeighborX="-70516" custLinFactNeighborY="-100000">
        <dgm:presLayoutVars>
          <dgm:chPref val="3"/>
        </dgm:presLayoutVars>
      </dgm:prSet>
      <dgm:spPr/>
    </dgm:pt>
    <dgm:pt modelId="{078C0549-0924-4F99-85BC-4CD1A0A48B98}" type="pres">
      <dgm:prSet presAssocID="{7A8536A3-696D-40E5-B567-31E4D7C65631}" presName="rootConnector" presStyleLbl="node2" presStyleIdx="3" presStyleCnt="4"/>
      <dgm:spPr/>
    </dgm:pt>
    <dgm:pt modelId="{EDC772DC-2C32-4ACF-B9E4-5F3F08106AE1}" type="pres">
      <dgm:prSet presAssocID="{7A8536A3-696D-40E5-B567-31E4D7C65631}" presName="hierChild4" presStyleCnt="0"/>
      <dgm:spPr/>
    </dgm:pt>
    <dgm:pt modelId="{E1E9B7C7-AF3C-45D0-BE07-F4A3F18ED4B6}" type="pres">
      <dgm:prSet presAssocID="{7A8536A3-696D-40E5-B567-31E4D7C65631}" presName="hierChild5" presStyleCnt="0"/>
      <dgm:spPr/>
    </dgm:pt>
    <dgm:pt modelId="{A123A2D4-18D6-45E0-B2D4-0FBAF05E6F3E}" type="pres">
      <dgm:prSet presAssocID="{F9D2F056-2B24-4941-AE46-682EC9AA5229}" presName="hierChild3" presStyleCnt="0"/>
      <dgm:spPr/>
    </dgm:pt>
  </dgm:ptLst>
  <dgm:cxnLst>
    <dgm:cxn modelId="{5DD7860C-1812-44DC-823D-0DD37A3347AE}" srcId="{F9D2F056-2B24-4941-AE46-682EC9AA5229}" destId="{7A8536A3-696D-40E5-B567-31E4D7C65631}" srcOrd="3" destOrd="0" parTransId="{A3A96FFA-0FAC-4A25-BA30-E0D87AA7C7BD}" sibTransId="{D73A74BC-65C4-40E2-AEBE-5CAF32C0E3AA}"/>
    <dgm:cxn modelId="{1472B110-BFED-4134-AF42-D53827AA21F3}" srcId="{F9D2F056-2B24-4941-AE46-682EC9AA5229}" destId="{B3F5C8B2-73EA-448C-8E97-6FCFD2E2A176}" srcOrd="0" destOrd="0" parTransId="{6C967068-FB78-43BA-A391-29571B410BF7}" sibTransId="{6746450F-7B49-400A-ABE6-7AC774DD063F}"/>
    <dgm:cxn modelId="{0873D927-6F5A-428C-B767-FA37466B761A}" type="presOf" srcId="{A3A96FFA-0FAC-4A25-BA30-E0D87AA7C7BD}" destId="{E5DC8FF4-23D0-49C9-932F-367EA43A19A5}" srcOrd="0" destOrd="0" presId="urn:microsoft.com/office/officeart/2005/8/layout/orgChart1"/>
    <dgm:cxn modelId="{DF4D1A32-2A01-4BC8-93E0-42CD47D67D79}" srcId="{C29AD67D-15AB-4800-B140-4283EDB8C273}" destId="{F9D2F056-2B24-4941-AE46-682EC9AA5229}" srcOrd="0" destOrd="0" parTransId="{E823F2B0-63EC-4454-AD04-005E85A13952}" sibTransId="{D150A804-694E-4A09-B85E-05CCAAE05494}"/>
    <dgm:cxn modelId="{36732B3C-B4C2-4853-9594-8751BDF41BE0}" type="presOf" srcId="{B3F5C8B2-73EA-448C-8E97-6FCFD2E2A176}" destId="{7D1BF179-8A85-4BF9-B7EC-7E1CB4B4F0B2}" srcOrd="1" destOrd="0" presId="urn:microsoft.com/office/officeart/2005/8/layout/orgChart1"/>
    <dgm:cxn modelId="{FF689061-AA5F-4C8E-B717-5C8ADD819B04}" type="presOf" srcId="{F9D2F056-2B24-4941-AE46-682EC9AA5229}" destId="{3DB81E40-F3CE-4B3A-B3B2-79E6A4CD7D55}" srcOrd="1" destOrd="0" presId="urn:microsoft.com/office/officeart/2005/8/layout/orgChart1"/>
    <dgm:cxn modelId="{98060D62-07B7-4CAB-84BA-FA1C75590196}" type="presOf" srcId="{6C967068-FB78-43BA-A391-29571B410BF7}" destId="{E38EF0F5-AA9C-450C-8E08-AC967303CB13}" srcOrd="0" destOrd="0" presId="urn:microsoft.com/office/officeart/2005/8/layout/orgChart1"/>
    <dgm:cxn modelId="{FED00A6C-7EA6-4ACE-B8F5-C2FF36DDB73F}" type="presOf" srcId="{7A8536A3-696D-40E5-B567-31E4D7C65631}" destId="{CE0AA596-6A2A-4114-9BE9-34A64E0FB1FE}" srcOrd="0" destOrd="0" presId="urn:microsoft.com/office/officeart/2005/8/layout/orgChart1"/>
    <dgm:cxn modelId="{13738777-D7B9-40F5-999C-F27088AE0D55}" type="presOf" srcId="{C29AD67D-15AB-4800-B140-4283EDB8C273}" destId="{5456468E-6E2A-4C50-974E-C6AC8F35F09A}" srcOrd="0" destOrd="0" presId="urn:microsoft.com/office/officeart/2005/8/layout/orgChart1"/>
    <dgm:cxn modelId="{E72BFB78-C7F5-4D11-95F7-100B50F7CA73}" type="presOf" srcId="{B6B4DBF6-DA53-4F18-9E87-2380176B898B}" destId="{F4C20A29-EA04-42CA-A084-E4743416D138}" srcOrd="0" destOrd="0" presId="urn:microsoft.com/office/officeart/2005/8/layout/orgChart1"/>
    <dgm:cxn modelId="{7C74898F-498A-4874-95AD-EC802CF05AA4}" type="presOf" srcId="{21AAE182-A9C0-4951-AEE9-941B8D83ADA2}" destId="{1B8E8C21-20A2-413D-8161-474E30AAD7A6}" srcOrd="1" destOrd="0" presId="urn:microsoft.com/office/officeart/2005/8/layout/orgChart1"/>
    <dgm:cxn modelId="{421FDCA0-A7E3-4249-B65F-177F8F6E5509}" type="presOf" srcId="{627030F9-1644-4702-B98F-7CC5ACE2B44E}" destId="{53A1C136-7B2C-4E4F-A056-5581ADB7CDB4}" srcOrd="1" destOrd="0" presId="urn:microsoft.com/office/officeart/2005/8/layout/orgChart1"/>
    <dgm:cxn modelId="{1E742DA1-A593-4273-A67C-1FE878645C15}" type="presOf" srcId="{7A8536A3-696D-40E5-B567-31E4D7C65631}" destId="{078C0549-0924-4F99-85BC-4CD1A0A48B98}" srcOrd="1" destOrd="0" presId="urn:microsoft.com/office/officeart/2005/8/layout/orgChart1"/>
    <dgm:cxn modelId="{A68131B1-ED20-4FAB-B796-03C9B17F004D}" type="presOf" srcId="{1C0CBD50-C421-42AD-9764-B75F0A3EE42D}" destId="{28CCE6C5-2026-4781-B494-BDBB77F43612}" srcOrd="0" destOrd="0" presId="urn:microsoft.com/office/officeart/2005/8/layout/orgChart1"/>
    <dgm:cxn modelId="{7E3459BE-F151-4C16-8F74-EAAA099FC15B}" srcId="{F9D2F056-2B24-4941-AE46-682EC9AA5229}" destId="{21AAE182-A9C0-4951-AEE9-941B8D83ADA2}" srcOrd="1" destOrd="0" parTransId="{B6B4DBF6-DA53-4F18-9E87-2380176B898B}" sibTransId="{50112C5F-5D39-48B3-9B66-56047894EEF4}"/>
    <dgm:cxn modelId="{AFA68BBF-6529-4818-A540-068D8DF0EBD9}" type="presOf" srcId="{B3F5C8B2-73EA-448C-8E97-6FCFD2E2A176}" destId="{BA979EF0-F577-453D-B0F7-F9814923326E}" srcOrd="0" destOrd="0" presId="urn:microsoft.com/office/officeart/2005/8/layout/orgChart1"/>
    <dgm:cxn modelId="{716212C7-54D2-4D8D-90AA-21A364315669}" type="presOf" srcId="{21AAE182-A9C0-4951-AEE9-941B8D83ADA2}" destId="{DFF80925-FDD7-4B50-A9C2-C4E69E4A4EA1}" srcOrd="0" destOrd="0" presId="urn:microsoft.com/office/officeart/2005/8/layout/orgChart1"/>
    <dgm:cxn modelId="{1B23BCDB-8455-43AC-832A-6B5A44C442EF}" type="presOf" srcId="{627030F9-1644-4702-B98F-7CC5ACE2B44E}" destId="{567716C5-C7FF-48D8-9391-8BAB0787B4CA}" srcOrd="0" destOrd="0" presId="urn:microsoft.com/office/officeart/2005/8/layout/orgChart1"/>
    <dgm:cxn modelId="{5D6009EB-D092-464C-ABE7-D106697ECB1D}" type="presOf" srcId="{F9D2F056-2B24-4941-AE46-682EC9AA5229}" destId="{4E768D9A-5D33-4282-ACB8-676D7C9134A9}" srcOrd="0" destOrd="0" presId="urn:microsoft.com/office/officeart/2005/8/layout/orgChart1"/>
    <dgm:cxn modelId="{D5608FED-E1ED-45B9-ADF2-1E1C668267F2}" srcId="{F9D2F056-2B24-4941-AE46-682EC9AA5229}" destId="{627030F9-1644-4702-B98F-7CC5ACE2B44E}" srcOrd="2" destOrd="0" parTransId="{1C0CBD50-C421-42AD-9764-B75F0A3EE42D}" sibTransId="{60315462-15E4-4290-9B79-E504CB29A39A}"/>
    <dgm:cxn modelId="{5C6B6EA8-9EB7-4EC0-8ADF-415770CA8ED4}" type="presParOf" srcId="{5456468E-6E2A-4C50-974E-C6AC8F35F09A}" destId="{7951C76A-01AA-45E0-AA04-2C89C4D383DE}" srcOrd="0" destOrd="0" presId="urn:microsoft.com/office/officeart/2005/8/layout/orgChart1"/>
    <dgm:cxn modelId="{0A37F19C-8CD8-4EE0-9363-1E752187581F}" type="presParOf" srcId="{7951C76A-01AA-45E0-AA04-2C89C4D383DE}" destId="{77445DB7-D177-4B8B-9710-FF2F8FD63E45}" srcOrd="0" destOrd="0" presId="urn:microsoft.com/office/officeart/2005/8/layout/orgChart1"/>
    <dgm:cxn modelId="{9A5F788D-5145-408F-98AC-4BE0133BAD40}" type="presParOf" srcId="{77445DB7-D177-4B8B-9710-FF2F8FD63E45}" destId="{4E768D9A-5D33-4282-ACB8-676D7C9134A9}" srcOrd="0" destOrd="0" presId="urn:microsoft.com/office/officeart/2005/8/layout/orgChart1"/>
    <dgm:cxn modelId="{C17C7BAC-6BB5-49FF-8AE0-9E0261DE7D6A}" type="presParOf" srcId="{77445DB7-D177-4B8B-9710-FF2F8FD63E45}" destId="{3DB81E40-F3CE-4B3A-B3B2-79E6A4CD7D55}" srcOrd="1" destOrd="0" presId="urn:microsoft.com/office/officeart/2005/8/layout/orgChart1"/>
    <dgm:cxn modelId="{4ECC257C-AB35-4CD1-8F67-1B758A1587FE}" type="presParOf" srcId="{7951C76A-01AA-45E0-AA04-2C89C4D383DE}" destId="{8F5F264A-A554-4C9B-9422-A05493EB36B7}" srcOrd="1" destOrd="0" presId="urn:microsoft.com/office/officeart/2005/8/layout/orgChart1"/>
    <dgm:cxn modelId="{A08DE83A-10F4-4637-A002-F3E2449D2431}" type="presParOf" srcId="{8F5F264A-A554-4C9B-9422-A05493EB36B7}" destId="{E38EF0F5-AA9C-450C-8E08-AC967303CB13}" srcOrd="0" destOrd="0" presId="urn:microsoft.com/office/officeart/2005/8/layout/orgChart1"/>
    <dgm:cxn modelId="{3EF93C68-FD85-435B-9C10-E12E90097619}" type="presParOf" srcId="{8F5F264A-A554-4C9B-9422-A05493EB36B7}" destId="{AD4AE5CD-E437-4723-87B7-AB4D9644F612}" srcOrd="1" destOrd="0" presId="urn:microsoft.com/office/officeart/2005/8/layout/orgChart1"/>
    <dgm:cxn modelId="{E451F8DF-B6E9-4855-ACAB-AD85F509CB7D}" type="presParOf" srcId="{AD4AE5CD-E437-4723-87B7-AB4D9644F612}" destId="{4C30F885-7E06-4B8A-ADFE-CB72EF282C1F}" srcOrd="0" destOrd="0" presId="urn:microsoft.com/office/officeart/2005/8/layout/orgChart1"/>
    <dgm:cxn modelId="{2A974D36-8FEC-4E7D-8D6C-EF9F455FC01A}" type="presParOf" srcId="{4C30F885-7E06-4B8A-ADFE-CB72EF282C1F}" destId="{BA979EF0-F577-453D-B0F7-F9814923326E}" srcOrd="0" destOrd="0" presId="urn:microsoft.com/office/officeart/2005/8/layout/orgChart1"/>
    <dgm:cxn modelId="{389B0057-12C9-44B9-92F9-D7EB25625AD3}" type="presParOf" srcId="{4C30F885-7E06-4B8A-ADFE-CB72EF282C1F}" destId="{7D1BF179-8A85-4BF9-B7EC-7E1CB4B4F0B2}" srcOrd="1" destOrd="0" presId="urn:microsoft.com/office/officeart/2005/8/layout/orgChart1"/>
    <dgm:cxn modelId="{F8189200-6E57-4B0A-B790-2DE8BF054148}" type="presParOf" srcId="{AD4AE5CD-E437-4723-87B7-AB4D9644F612}" destId="{E10BF1AE-6C94-48F1-827D-8AA4665E0495}" srcOrd="1" destOrd="0" presId="urn:microsoft.com/office/officeart/2005/8/layout/orgChart1"/>
    <dgm:cxn modelId="{35EDC358-BB8F-4226-9388-40D2442A7B0D}" type="presParOf" srcId="{AD4AE5CD-E437-4723-87B7-AB4D9644F612}" destId="{F889297E-0383-4D06-AE69-E4C3D61ABB59}" srcOrd="2" destOrd="0" presId="urn:microsoft.com/office/officeart/2005/8/layout/orgChart1"/>
    <dgm:cxn modelId="{0EB61AA8-E1C4-4327-8D3E-8C04329D3DD2}" type="presParOf" srcId="{8F5F264A-A554-4C9B-9422-A05493EB36B7}" destId="{F4C20A29-EA04-42CA-A084-E4743416D138}" srcOrd="2" destOrd="0" presId="urn:microsoft.com/office/officeart/2005/8/layout/orgChart1"/>
    <dgm:cxn modelId="{84E4F544-65F4-4E7F-ABD4-BD9107F598AA}" type="presParOf" srcId="{8F5F264A-A554-4C9B-9422-A05493EB36B7}" destId="{07E299C4-D286-4F28-8E8A-A9EDA7A5A649}" srcOrd="3" destOrd="0" presId="urn:microsoft.com/office/officeart/2005/8/layout/orgChart1"/>
    <dgm:cxn modelId="{BEC29767-E27C-4EB9-A47F-1C19A06831A3}" type="presParOf" srcId="{07E299C4-D286-4F28-8E8A-A9EDA7A5A649}" destId="{29E426D4-239E-400A-B852-5BB364B11140}" srcOrd="0" destOrd="0" presId="urn:microsoft.com/office/officeart/2005/8/layout/orgChart1"/>
    <dgm:cxn modelId="{4226CA4F-FB3A-47AE-97A3-5D3AFCBFDC80}" type="presParOf" srcId="{29E426D4-239E-400A-B852-5BB364B11140}" destId="{DFF80925-FDD7-4B50-A9C2-C4E69E4A4EA1}" srcOrd="0" destOrd="0" presId="urn:microsoft.com/office/officeart/2005/8/layout/orgChart1"/>
    <dgm:cxn modelId="{A7611F6F-A5D7-4A36-AD16-C7EC97931E1E}" type="presParOf" srcId="{29E426D4-239E-400A-B852-5BB364B11140}" destId="{1B8E8C21-20A2-413D-8161-474E30AAD7A6}" srcOrd="1" destOrd="0" presId="urn:microsoft.com/office/officeart/2005/8/layout/orgChart1"/>
    <dgm:cxn modelId="{732B9E6B-BBC3-414A-B4D1-2C0373534E25}" type="presParOf" srcId="{07E299C4-D286-4F28-8E8A-A9EDA7A5A649}" destId="{691C3E33-6D1B-4E45-9945-87E943382CD9}" srcOrd="1" destOrd="0" presId="urn:microsoft.com/office/officeart/2005/8/layout/orgChart1"/>
    <dgm:cxn modelId="{37641A8D-2590-475F-BAFE-12BCFC951FDC}" type="presParOf" srcId="{07E299C4-D286-4F28-8E8A-A9EDA7A5A649}" destId="{64B3FE24-F6F4-4D34-A9A4-310028949194}" srcOrd="2" destOrd="0" presId="urn:microsoft.com/office/officeart/2005/8/layout/orgChart1"/>
    <dgm:cxn modelId="{2D604AB9-F626-4D08-9650-EBFE35EFD3F1}" type="presParOf" srcId="{8F5F264A-A554-4C9B-9422-A05493EB36B7}" destId="{28CCE6C5-2026-4781-B494-BDBB77F43612}" srcOrd="4" destOrd="0" presId="urn:microsoft.com/office/officeart/2005/8/layout/orgChart1"/>
    <dgm:cxn modelId="{B641D1C2-4A65-420F-9CDC-FC9D6FEA8868}" type="presParOf" srcId="{8F5F264A-A554-4C9B-9422-A05493EB36B7}" destId="{D59227FC-29B6-4773-82CF-D0486F16D86C}" srcOrd="5" destOrd="0" presId="urn:microsoft.com/office/officeart/2005/8/layout/orgChart1"/>
    <dgm:cxn modelId="{6A40B210-69CD-440D-B4EB-528FDA57EB84}" type="presParOf" srcId="{D59227FC-29B6-4773-82CF-D0486F16D86C}" destId="{D0F21421-0744-4F4B-B0EB-95F189C02413}" srcOrd="0" destOrd="0" presId="urn:microsoft.com/office/officeart/2005/8/layout/orgChart1"/>
    <dgm:cxn modelId="{0004F6D7-D1F7-466F-BA51-3F5FC1983534}" type="presParOf" srcId="{D0F21421-0744-4F4B-B0EB-95F189C02413}" destId="{567716C5-C7FF-48D8-9391-8BAB0787B4CA}" srcOrd="0" destOrd="0" presId="urn:microsoft.com/office/officeart/2005/8/layout/orgChart1"/>
    <dgm:cxn modelId="{277C5CC5-C898-4804-8A76-9488B28471C3}" type="presParOf" srcId="{D0F21421-0744-4F4B-B0EB-95F189C02413}" destId="{53A1C136-7B2C-4E4F-A056-5581ADB7CDB4}" srcOrd="1" destOrd="0" presId="urn:microsoft.com/office/officeart/2005/8/layout/orgChart1"/>
    <dgm:cxn modelId="{19D65C3F-3DF4-43D3-8F26-523D9AC37DA3}" type="presParOf" srcId="{D59227FC-29B6-4773-82CF-D0486F16D86C}" destId="{F8189EB6-1364-4B7D-B053-A192B75C5A04}" srcOrd="1" destOrd="0" presId="urn:microsoft.com/office/officeart/2005/8/layout/orgChart1"/>
    <dgm:cxn modelId="{8C8BB8F1-9C17-48C0-9551-B1077BF4E308}" type="presParOf" srcId="{D59227FC-29B6-4773-82CF-D0486F16D86C}" destId="{60CF431F-7031-44CE-A2B5-4ADEF359640B}" srcOrd="2" destOrd="0" presId="urn:microsoft.com/office/officeart/2005/8/layout/orgChart1"/>
    <dgm:cxn modelId="{9624F23E-A3BD-4A5D-AB13-B016D183C836}" type="presParOf" srcId="{8F5F264A-A554-4C9B-9422-A05493EB36B7}" destId="{E5DC8FF4-23D0-49C9-932F-367EA43A19A5}" srcOrd="6" destOrd="0" presId="urn:microsoft.com/office/officeart/2005/8/layout/orgChart1"/>
    <dgm:cxn modelId="{7C26A0AF-03AD-43FF-B4E3-527D3D481BD4}" type="presParOf" srcId="{8F5F264A-A554-4C9B-9422-A05493EB36B7}" destId="{D7FC8E9C-3660-4C74-A45C-90ACBD8A7CB3}" srcOrd="7" destOrd="0" presId="urn:microsoft.com/office/officeart/2005/8/layout/orgChart1"/>
    <dgm:cxn modelId="{09D8E8D6-8512-4FF3-BA69-C94858EA59AC}" type="presParOf" srcId="{D7FC8E9C-3660-4C74-A45C-90ACBD8A7CB3}" destId="{B38AB34E-442D-4AA7-A9AF-1574CDF60E2B}" srcOrd="0" destOrd="0" presId="urn:microsoft.com/office/officeart/2005/8/layout/orgChart1"/>
    <dgm:cxn modelId="{CC59D8EE-2D2D-4ECC-BB1A-945EE2F2E081}" type="presParOf" srcId="{B38AB34E-442D-4AA7-A9AF-1574CDF60E2B}" destId="{CE0AA596-6A2A-4114-9BE9-34A64E0FB1FE}" srcOrd="0" destOrd="0" presId="urn:microsoft.com/office/officeart/2005/8/layout/orgChart1"/>
    <dgm:cxn modelId="{0FC4E070-A13F-42F7-A3BB-CAC26AC338BB}" type="presParOf" srcId="{B38AB34E-442D-4AA7-A9AF-1574CDF60E2B}" destId="{078C0549-0924-4F99-85BC-4CD1A0A48B98}" srcOrd="1" destOrd="0" presId="urn:microsoft.com/office/officeart/2005/8/layout/orgChart1"/>
    <dgm:cxn modelId="{327C49DA-772A-4DE0-9D4B-B78CA7DD7737}" type="presParOf" srcId="{D7FC8E9C-3660-4C74-A45C-90ACBD8A7CB3}" destId="{EDC772DC-2C32-4ACF-B9E4-5F3F08106AE1}" srcOrd="1" destOrd="0" presId="urn:microsoft.com/office/officeart/2005/8/layout/orgChart1"/>
    <dgm:cxn modelId="{7D24F3B5-2EC7-4E45-8A54-ACC2379B40B0}" type="presParOf" srcId="{D7FC8E9C-3660-4C74-A45C-90ACBD8A7CB3}" destId="{E1E9B7C7-AF3C-45D0-BE07-F4A3F18ED4B6}" srcOrd="2" destOrd="0" presId="urn:microsoft.com/office/officeart/2005/8/layout/orgChart1"/>
    <dgm:cxn modelId="{E4AAF7B3-40BF-42AC-9516-75A4739737F8}" type="presParOf" srcId="{7951C76A-01AA-45E0-AA04-2C89C4D383DE}" destId="{A123A2D4-18D6-45E0-B2D4-0FBAF05E6F3E}" srcOrd="2" destOrd="0" presId="urn:microsoft.com/office/officeart/2005/8/layout/orgChart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29AD67D-15AB-4800-B140-4283EDB8C273}" type="doc">
      <dgm:prSet loTypeId="urn:microsoft.com/office/officeart/2005/8/layout/orgChart1" loCatId="hierarchy" qsTypeId="urn:microsoft.com/office/officeart/2005/8/quickstyle/simple5" qsCatId="simple" csTypeId="urn:microsoft.com/office/officeart/2005/8/colors/accent2_4" csCatId="accent2" phldr="1"/>
      <dgm:spPr/>
    </dgm:pt>
    <dgm:pt modelId="{F9D2F056-2B24-4941-AE46-682EC9AA5229}">
      <dgm:prSet custT="1"/>
      <dgm:spPr>
        <a:xfrm>
          <a:off x="1147646" y="1720540"/>
          <a:ext cx="723798" cy="344347"/>
        </a:xfrm>
        <a:prstGeom prst="rect">
          <a:avLst/>
        </a:prstGeom>
        <a:gradFill rotWithShape="0">
          <a:gsLst>
            <a:gs pos="0">
              <a:srgbClr val="15AEEF">
                <a:shade val="60000"/>
                <a:hueOff val="0"/>
                <a:satOff val="0"/>
                <a:lumOff val="0"/>
                <a:alphaOff val="0"/>
                <a:tint val="100000"/>
                <a:shade val="100000"/>
                <a:satMod val="130000"/>
              </a:srgbClr>
            </a:gs>
            <a:gs pos="100000">
              <a:srgbClr val="15AEEF">
                <a:shade val="6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cap="none" normalizeH="0" baseline="0" dirty="0">
              <a:ln/>
              <a:solidFill>
                <a:sysClr val="window" lastClr="FFFFFF"/>
              </a:solidFill>
              <a:effectLst/>
              <a:latin typeface="Franklin Gothic Medium" pitchFamily="34" charset="0"/>
              <a:ea typeface="+mn-ea"/>
              <a:cs typeface="Arial" pitchFamily="34" charset="0"/>
            </a:rPr>
            <a:t>Memory</a:t>
          </a:r>
          <a:endParaRPr kumimoji="0" lang="en-US" sz="1800" b="0" i="0" u="none" strike="noStrike" cap="none" normalizeH="0" baseline="0" dirty="0">
            <a:ln/>
            <a:solidFill>
              <a:sysClr val="window" lastClr="FFFFFF"/>
            </a:solidFill>
            <a:effectLst/>
            <a:latin typeface="Franklin Gothic Medium" pitchFamily="34" charset="0"/>
            <a:ea typeface="+mn-ea"/>
            <a:cs typeface="Arial" pitchFamily="34" charset="0"/>
          </a:endParaRPr>
        </a:p>
      </dgm:t>
    </dgm:pt>
    <dgm:pt modelId="{E823F2B0-63EC-4454-AD04-005E85A13952}" type="parTrans" cxnId="{DF4D1A32-2A01-4BC8-93E0-42CD47D67D79}">
      <dgm:prSet/>
      <dgm:spPr/>
      <dgm:t>
        <a:bodyPr/>
        <a:lstStyle/>
        <a:p>
          <a:pPr rtl="1"/>
          <a:endParaRPr lang="he-IL"/>
        </a:p>
      </dgm:t>
    </dgm:pt>
    <dgm:pt modelId="{D150A804-694E-4A09-B85E-05CCAAE05494}" type="sibTrans" cxnId="{DF4D1A32-2A01-4BC8-93E0-42CD47D67D79}">
      <dgm:prSet/>
      <dgm:spPr/>
      <dgm:t>
        <a:bodyPr/>
        <a:lstStyle/>
        <a:p>
          <a:pPr rtl="1"/>
          <a:endParaRPr lang="he-IL"/>
        </a:p>
      </dgm:t>
    </dgm:pt>
    <dgm:pt modelId="{B3F5C8B2-73EA-448C-8E97-6FCFD2E2A176}">
      <dgm:prSet custT="1"/>
      <dgm:spPr>
        <a:xfrm>
          <a:off x="176561" y="740679"/>
          <a:ext cx="723798"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4</a:t>
          </a:r>
          <a:endParaRPr kumimoji="0" lang="en-US" sz="1100" b="0" i="1" u="none" strike="noStrike" cap="none" normalizeH="0" baseline="0" dirty="0">
            <a:ln/>
            <a:solidFill>
              <a:sysClr val="window" lastClr="FFFFFF"/>
            </a:solidFill>
            <a:effectLst/>
            <a:latin typeface="Segoe UI Light" panose="020B0502040204020203" pitchFamily="34" charset="0"/>
            <a:ea typeface="+mn-ea"/>
            <a:cs typeface="Arial" pitchFamily="34" charset="0"/>
          </a:endParaRPr>
        </a:p>
      </dgm:t>
    </dgm:pt>
    <dgm:pt modelId="{6C967068-FB78-43BA-A391-29571B410BF7}" type="parTrans" cxnId="{1472B110-BFED-4134-AF42-D53827AA21F3}">
      <dgm:prSet/>
      <dgm:spPr>
        <a:xfrm>
          <a:off x="538461" y="740679"/>
          <a:ext cx="971084" cy="1324208"/>
        </a:xfrm>
        <a:custGeom>
          <a:avLst/>
          <a:gdLst/>
          <a:ahLst/>
          <a:cxnLst/>
          <a:rect l="0" t="0" r="0" b="0"/>
          <a:pathLst>
            <a:path>
              <a:moveTo>
                <a:pt x="971084" y="1324208"/>
              </a:moveTo>
              <a:lnTo>
                <a:pt x="0"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solidFill>
              <a:schemeClr val="bg1"/>
            </a:solidFill>
          </a:endParaRPr>
        </a:p>
      </dgm:t>
    </dgm:pt>
    <dgm:pt modelId="{6746450F-7B49-400A-ABE6-7AC774DD063F}" type="sibTrans" cxnId="{1472B110-BFED-4134-AF42-D53827AA21F3}">
      <dgm:prSet/>
      <dgm:spPr/>
      <dgm:t>
        <a:bodyPr/>
        <a:lstStyle/>
        <a:p>
          <a:pPr rtl="1"/>
          <a:endParaRPr lang="he-IL"/>
        </a:p>
      </dgm:t>
    </dgm:pt>
    <dgm:pt modelId="{21AAE182-A9C0-4951-AEE9-941B8D83ADA2}">
      <dgm:prSet custT="1"/>
      <dgm:spPr>
        <a:xfrm>
          <a:off x="176561" y="1367417"/>
          <a:ext cx="723798"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5</a:t>
          </a:r>
          <a:endParaRPr kumimoji="0" lang="en-US" sz="1200" b="0" i="1" u="none" strike="noStrike" cap="none" normalizeH="0" baseline="0" dirty="0">
            <a:ln/>
            <a:solidFill>
              <a:sysClr val="window" lastClr="FFFFFF"/>
            </a:solidFill>
            <a:effectLst/>
            <a:latin typeface="Segoe UI Light" panose="020B0502040204020203" pitchFamily="34" charset="0"/>
            <a:ea typeface="+mn-ea"/>
            <a:cs typeface="Arial" pitchFamily="34" charset="0"/>
          </a:endParaRPr>
        </a:p>
      </dgm:t>
    </dgm:pt>
    <dgm:pt modelId="{B6B4DBF6-DA53-4F18-9E87-2380176B898B}" type="parTrans" cxnId="{7E3459BE-F151-4C16-8F74-EAAA099FC15B}">
      <dgm:prSet/>
      <dgm:spPr>
        <a:xfrm>
          <a:off x="538461" y="1367417"/>
          <a:ext cx="971084" cy="697470"/>
        </a:xfrm>
        <a:custGeom>
          <a:avLst/>
          <a:gdLst/>
          <a:ahLst/>
          <a:cxnLst/>
          <a:rect l="0" t="0" r="0" b="0"/>
          <a:pathLst>
            <a:path>
              <a:moveTo>
                <a:pt x="971084" y="697470"/>
              </a:moveTo>
              <a:lnTo>
                <a:pt x="0"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p>
      </dgm:t>
    </dgm:pt>
    <dgm:pt modelId="{50112C5F-5D39-48B3-9B66-56047894EEF4}" type="sibTrans" cxnId="{7E3459BE-F151-4C16-8F74-EAAA099FC15B}">
      <dgm:prSet/>
      <dgm:spPr/>
      <dgm:t>
        <a:bodyPr/>
        <a:lstStyle/>
        <a:p>
          <a:pPr rtl="1"/>
          <a:endParaRPr lang="he-IL"/>
        </a:p>
      </dgm:t>
    </dgm:pt>
    <dgm:pt modelId="{7A8536A3-696D-40E5-B567-31E4D7C65631}">
      <dgm:prSet custT="1"/>
      <dgm:spPr>
        <a:xfrm>
          <a:off x="2118730" y="1367417"/>
          <a:ext cx="723798"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7</a:t>
          </a:r>
          <a:endParaRPr kumimoji="0" lang="en-US" sz="1200" b="0" i="1" u="none" strike="noStrike" cap="none" normalizeH="0" baseline="0" dirty="0">
            <a:ln/>
            <a:solidFill>
              <a:sysClr val="window" lastClr="FFFFFF"/>
            </a:solidFill>
            <a:effectLst/>
            <a:latin typeface="Segoe UI Light" panose="020B0502040204020203" pitchFamily="34" charset="0"/>
            <a:ea typeface="+mn-ea"/>
            <a:cs typeface="Arial" pitchFamily="34" charset="0"/>
          </a:endParaRPr>
        </a:p>
      </dgm:t>
    </dgm:pt>
    <dgm:pt modelId="{D73A74BC-65C4-40E2-AEBE-5CAF32C0E3AA}" type="sibTrans" cxnId="{5DD7860C-1812-44DC-823D-0DD37A3347AE}">
      <dgm:prSet/>
      <dgm:spPr/>
      <dgm:t>
        <a:bodyPr/>
        <a:lstStyle/>
        <a:p>
          <a:pPr rtl="1"/>
          <a:endParaRPr lang="he-IL"/>
        </a:p>
      </dgm:t>
    </dgm:pt>
    <dgm:pt modelId="{A3A96FFA-0FAC-4A25-BA30-E0D87AA7C7BD}" type="parTrans" cxnId="{5DD7860C-1812-44DC-823D-0DD37A3347AE}">
      <dgm:prSet/>
      <dgm:spPr>
        <a:xfrm>
          <a:off x="1509545" y="1367417"/>
          <a:ext cx="971084" cy="697470"/>
        </a:xfrm>
        <a:custGeom>
          <a:avLst/>
          <a:gdLst/>
          <a:ahLst/>
          <a:cxnLst/>
          <a:rect l="0" t="0" r="0" b="0"/>
          <a:pathLst>
            <a:path>
              <a:moveTo>
                <a:pt x="0" y="697470"/>
              </a:moveTo>
              <a:lnTo>
                <a:pt x="971084"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p>
      </dgm:t>
    </dgm:pt>
    <dgm:pt modelId="{627030F9-1644-4702-B98F-7CC5ACE2B44E}">
      <dgm:prSet custT="1"/>
      <dgm:spPr>
        <a:xfrm>
          <a:off x="2118730" y="740679"/>
          <a:ext cx="723798"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6</a:t>
          </a:r>
          <a:endParaRPr kumimoji="0" lang="en-US" sz="1200" b="0" i="1" u="none" strike="noStrike" cap="none" normalizeH="0" baseline="0" dirty="0">
            <a:ln/>
            <a:solidFill>
              <a:sysClr val="window" lastClr="FFFFFF"/>
            </a:solidFill>
            <a:effectLst/>
            <a:latin typeface="Segoe UI Light" panose="020B0502040204020203" pitchFamily="34" charset="0"/>
            <a:ea typeface="+mn-ea"/>
            <a:cs typeface="Arial" pitchFamily="34" charset="0"/>
          </a:endParaRPr>
        </a:p>
      </dgm:t>
    </dgm:pt>
    <dgm:pt modelId="{60315462-15E4-4290-9B79-E504CB29A39A}" type="sibTrans" cxnId="{D5608FED-E1ED-45B9-ADF2-1E1C668267F2}">
      <dgm:prSet/>
      <dgm:spPr/>
      <dgm:t>
        <a:bodyPr/>
        <a:lstStyle/>
        <a:p>
          <a:pPr rtl="1"/>
          <a:endParaRPr lang="he-IL"/>
        </a:p>
      </dgm:t>
    </dgm:pt>
    <dgm:pt modelId="{1C0CBD50-C421-42AD-9764-B75F0A3EE42D}" type="parTrans" cxnId="{D5608FED-E1ED-45B9-ADF2-1E1C668267F2}">
      <dgm:prSet/>
      <dgm:spPr>
        <a:xfrm>
          <a:off x="1509545" y="740679"/>
          <a:ext cx="971084" cy="1324208"/>
        </a:xfrm>
        <a:custGeom>
          <a:avLst/>
          <a:gdLst/>
          <a:ahLst/>
          <a:cxnLst/>
          <a:rect l="0" t="0" r="0" b="0"/>
          <a:pathLst>
            <a:path>
              <a:moveTo>
                <a:pt x="0" y="1324208"/>
              </a:moveTo>
              <a:lnTo>
                <a:pt x="971084"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p>
      </dgm:t>
    </dgm:pt>
    <dgm:pt modelId="{5456468E-6E2A-4C50-974E-C6AC8F35F09A}" type="pres">
      <dgm:prSet presAssocID="{C29AD67D-15AB-4800-B140-4283EDB8C273}" presName="hierChild1" presStyleCnt="0">
        <dgm:presLayoutVars>
          <dgm:orgChart val="1"/>
          <dgm:chPref val="1"/>
          <dgm:dir/>
          <dgm:animOne val="branch"/>
          <dgm:animLvl val="lvl"/>
          <dgm:resizeHandles/>
        </dgm:presLayoutVars>
      </dgm:prSet>
      <dgm:spPr/>
    </dgm:pt>
    <dgm:pt modelId="{7951C76A-01AA-45E0-AA04-2C89C4D383DE}" type="pres">
      <dgm:prSet presAssocID="{F9D2F056-2B24-4941-AE46-682EC9AA5229}" presName="hierRoot1" presStyleCnt="0">
        <dgm:presLayoutVars>
          <dgm:hierBranch/>
        </dgm:presLayoutVars>
      </dgm:prSet>
      <dgm:spPr/>
    </dgm:pt>
    <dgm:pt modelId="{77445DB7-D177-4B8B-9710-FF2F8FD63E45}" type="pres">
      <dgm:prSet presAssocID="{F9D2F056-2B24-4941-AE46-682EC9AA5229}" presName="rootComposite1" presStyleCnt="0"/>
      <dgm:spPr/>
    </dgm:pt>
    <dgm:pt modelId="{4E768D9A-5D33-4282-ACB8-676D7C9134A9}" type="pres">
      <dgm:prSet presAssocID="{F9D2F056-2B24-4941-AE46-682EC9AA5229}" presName="rootText1" presStyleLbl="node0" presStyleIdx="0" presStyleCnt="1" custScaleY="95150" custLinFactY="30772" custLinFactNeighborX="-23181" custLinFactNeighborY="100000">
        <dgm:presLayoutVars>
          <dgm:chPref val="3"/>
        </dgm:presLayoutVars>
      </dgm:prSet>
      <dgm:spPr/>
    </dgm:pt>
    <dgm:pt modelId="{3DB81E40-F3CE-4B3A-B3B2-79E6A4CD7D55}" type="pres">
      <dgm:prSet presAssocID="{F9D2F056-2B24-4941-AE46-682EC9AA5229}" presName="rootConnector1" presStyleLbl="node1" presStyleIdx="0" presStyleCnt="0"/>
      <dgm:spPr/>
    </dgm:pt>
    <dgm:pt modelId="{8F5F264A-A554-4C9B-9422-A05493EB36B7}" type="pres">
      <dgm:prSet presAssocID="{F9D2F056-2B24-4941-AE46-682EC9AA5229}" presName="hierChild2" presStyleCnt="0"/>
      <dgm:spPr/>
    </dgm:pt>
    <dgm:pt modelId="{E38EF0F5-AA9C-450C-8E08-AC967303CB13}" type="pres">
      <dgm:prSet presAssocID="{6C967068-FB78-43BA-A391-29571B410BF7}" presName="Name35" presStyleLbl="parChTrans1D2" presStyleIdx="0" presStyleCnt="4"/>
      <dgm:spPr/>
    </dgm:pt>
    <dgm:pt modelId="{AD4AE5CD-E437-4723-87B7-AB4D9644F612}" type="pres">
      <dgm:prSet presAssocID="{B3F5C8B2-73EA-448C-8E97-6FCFD2E2A176}" presName="hierRoot2" presStyleCnt="0">
        <dgm:presLayoutVars>
          <dgm:hierBranch/>
        </dgm:presLayoutVars>
      </dgm:prSet>
      <dgm:spPr/>
    </dgm:pt>
    <dgm:pt modelId="{4C30F885-7E06-4B8A-ADFE-CB72EF282C1F}" type="pres">
      <dgm:prSet presAssocID="{B3F5C8B2-73EA-448C-8E97-6FCFD2E2A176}" presName="rootComposite" presStyleCnt="0"/>
      <dgm:spPr/>
    </dgm:pt>
    <dgm:pt modelId="{BA979EF0-F577-453D-B0F7-F9814923326E}" type="pres">
      <dgm:prSet presAssocID="{B3F5C8B2-73EA-448C-8E97-6FCFD2E2A176}" presName="rootText" presStyleLbl="node2" presStyleIdx="0" presStyleCnt="4" custLinFactY="-100000" custLinFactNeighborX="24154" custLinFactNeighborY="-177133">
        <dgm:presLayoutVars>
          <dgm:chPref val="3"/>
        </dgm:presLayoutVars>
      </dgm:prSet>
      <dgm:spPr/>
    </dgm:pt>
    <dgm:pt modelId="{7D1BF179-8A85-4BF9-B7EC-7E1CB4B4F0B2}" type="pres">
      <dgm:prSet presAssocID="{B3F5C8B2-73EA-448C-8E97-6FCFD2E2A176}" presName="rootConnector" presStyleLbl="node2" presStyleIdx="0" presStyleCnt="4"/>
      <dgm:spPr/>
    </dgm:pt>
    <dgm:pt modelId="{E10BF1AE-6C94-48F1-827D-8AA4665E0495}" type="pres">
      <dgm:prSet presAssocID="{B3F5C8B2-73EA-448C-8E97-6FCFD2E2A176}" presName="hierChild4" presStyleCnt="0"/>
      <dgm:spPr/>
    </dgm:pt>
    <dgm:pt modelId="{F889297E-0383-4D06-AE69-E4C3D61ABB59}" type="pres">
      <dgm:prSet presAssocID="{B3F5C8B2-73EA-448C-8E97-6FCFD2E2A176}" presName="hierChild5" presStyleCnt="0"/>
      <dgm:spPr/>
    </dgm:pt>
    <dgm:pt modelId="{F4C20A29-EA04-42CA-A084-E4743416D138}" type="pres">
      <dgm:prSet presAssocID="{B6B4DBF6-DA53-4F18-9E87-2380176B898B}" presName="Name35" presStyleLbl="parChTrans1D2" presStyleIdx="1" presStyleCnt="4"/>
      <dgm:spPr/>
    </dgm:pt>
    <dgm:pt modelId="{07E299C4-D286-4F28-8E8A-A9EDA7A5A649}" type="pres">
      <dgm:prSet presAssocID="{21AAE182-A9C0-4951-AEE9-941B8D83ADA2}" presName="hierRoot2" presStyleCnt="0">
        <dgm:presLayoutVars>
          <dgm:hierBranch/>
        </dgm:presLayoutVars>
      </dgm:prSet>
      <dgm:spPr/>
    </dgm:pt>
    <dgm:pt modelId="{29E426D4-239E-400A-B852-5BB364B11140}" type="pres">
      <dgm:prSet presAssocID="{21AAE182-A9C0-4951-AEE9-941B8D83ADA2}" presName="rootComposite" presStyleCnt="0"/>
      <dgm:spPr/>
    </dgm:pt>
    <dgm:pt modelId="{DFF80925-FDD7-4B50-A9C2-C4E69E4A4EA1}" type="pres">
      <dgm:prSet presAssocID="{21AAE182-A9C0-4951-AEE9-941B8D83ADA2}" presName="rootText" presStyleLbl="node2" presStyleIdx="1" presStyleCnt="4" custLinFactY="-3953" custLinFactNeighborX="-96846" custLinFactNeighborY="-100000">
        <dgm:presLayoutVars>
          <dgm:chPref val="3"/>
        </dgm:presLayoutVars>
      </dgm:prSet>
      <dgm:spPr/>
    </dgm:pt>
    <dgm:pt modelId="{1B8E8C21-20A2-413D-8161-474E30AAD7A6}" type="pres">
      <dgm:prSet presAssocID="{21AAE182-A9C0-4951-AEE9-941B8D83ADA2}" presName="rootConnector" presStyleLbl="node2" presStyleIdx="1" presStyleCnt="4"/>
      <dgm:spPr/>
    </dgm:pt>
    <dgm:pt modelId="{691C3E33-6D1B-4E45-9945-87E943382CD9}" type="pres">
      <dgm:prSet presAssocID="{21AAE182-A9C0-4951-AEE9-941B8D83ADA2}" presName="hierChild4" presStyleCnt="0"/>
      <dgm:spPr/>
    </dgm:pt>
    <dgm:pt modelId="{64B3FE24-F6F4-4D34-A9A4-310028949194}" type="pres">
      <dgm:prSet presAssocID="{21AAE182-A9C0-4951-AEE9-941B8D83ADA2}" presName="hierChild5" presStyleCnt="0"/>
      <dgm:spPr/>
    </dgm:pt>
    <dgm:pt modelId="{28CCE6C5-2026-4781-B494-BDBB77F43612}" type="pres">
      <dgm:prSet presAssocID="{1C0CBD50-C421-42AD-9764-B75F0A3EE42D}" presName="Name35" presStyleLbl="parChTrans1D2" presStyleIdx="2" presStyleCnt="4"/>
      <dgm:spPr/>
    </dgm:pt>
    <dgm:pt modelId="{D59227FC-29B6-4773-82CF-D0486F16D86C}" type="pres">
      <dgm:prSet presAssocID="{627030F9-1644-4702-B98F-7CC5ACE2B44E}" presName="hierRoot2" presStyleCnt="0">
        <dgm:presLayoutVars>
          <dgm:hierBranch/>
        </dgm:presLayoutVars>
      </dgm:prSet>
      <dgm:spPr/>
    </dgm:pt>
    <dgm:pt modelId="{D0F21421-0744-4F4B-B0EB-95F189C02413}" type="pres">
      <dgm:prSet presAssocID="{627030F9-1644-4702-B98F-7CC5ACE2B44E}" presName="rootComposite" presStyleCnt="0"/>
      <dgm:spPr/>
    </dgm:pt>
    <dgm:pt modelId="{567716C5-C7FF-48D8-9391-8BAB0787B4CA}" type="pres">
      <dgm:prSet presAssocID="{627030F9-1644-4702-B98F-7CC5ACE2B44E}" presName="rootText" presStyleLbl="node2" presStyleIdx="2" presStyleCnt="4" custLinFactY="-100000" custLinFactNeighborX="50484" custLinFactNeighborY="-177133">
        <dgm:presLayoutVars>
          <dgm:chPref val="3"/>
        </dgm:presLayoutVars>
      </dgm:prSet>
      <dgm:spPr/>
    </dgm:pt>
    <dgm:pt modelId="{53A1C136-7B2C-4E4F-A056-5581ADB7CDB4}" type="pres">
      <dgm:prSet presAssocID="{627030F9-1644-4702-B98F-7CC5ACE2B44E}" presName="rootConnector" presStyleLbl="node2" presStyleIdx="2" presStyleCnt="4"/>
      <dgm:spPr/>
    </dgm:pt>
    <dgm:pt modelId="{F8189EB6-1364-4B7D-B053-A192B75C5A04}" type="pres">
      <dgm:prSet presAssocID="{627030F9-1644-4702-B98F-7CC5ACE2B44E}" presName="hierChild4" presStyleCnt="0"/>
      <dgm:spPr/>
    </dgm:pt>
    <dgm:pt modelId="{60CF431F-7031-44CE-A2B5-4ADEF359640B}" type="pres">
      <dgm:prSet presAssocID="{627030F9-1644-4702-B98F-7CC5ACE2B44E}" presName="hierChild5" presStyleCnt="0"/>
      <dgm:spPr/>
    </dgm:pt>
    <dgm:pt modelId="{E5DC8FF4-23D0-49C9-932F-367EA43A19A5}" type="pres">
      <dgm:prSet presAssocID="{A3A96FFA-0FAC-4A25-BA30-E0D87AA7C7BD}" presName="Name35" presStyleLbl="parChTrans1D2" presStyleIdx="3" presStyleCnt="4"/>
      <dgm:spPr/>
    </dgm:pt>
    <dgm:pt modelId="{D7FC8E9C-3660-4C74-A45C-90ACBD8A7CB3}" type="pres">
      <dgm:prSet presAssocID="{7A8536A3-696D-40E5-B567-31E4D7C65631}" presName="hierRoot2" presStyleCnt="0">
        <dgm:presLayoutVars>
          <dgm:hierBranch/>
        </dgm:presLayoutVars>
      </dgm:prSet>
      <dgm:spPr/>
    </dgm:pt>
    <dgm:pt modelId="{B38AB34E-442D-4AA7-A9AF-1574CDF60E2B}" type="pres">
      <dgm:prSet presAssocID="{7A8536A3-696D-40E5-B567-31E4D7C65631}" presName="rootComposite" presStyleCnt="0"/>
      <dgm:spPr/>
    </dgm:pt>
    <dgm:pt modelId="{CE0AA596-6A2A-4114-9BE9-34A64E0FB1FE}" type="pres">
      <dgm:prSet presAssocID="{7A8536A3-696D-40E5-B567-31E4D7C65631}" presName="rootText" presStyleLbl="node2" presStyleIdx="3" presStyleCnt="4" custLinFactY="-3953" custLinFactNeighborX="-70516" custLinFactNeighborY="-100000">
        <dgm:presLayoutVars>
          <dgm:chPref val="3"/>
        </dgm:presLayoutVars>
      </dgm:prSet>
      <dgm:spPr/>
    </dgm:pt>
    <dgm:pt modelId="{078C0549-0924-4F99-85BC-4CD1A0A48B98}" type="pres">
      <dgm:prSet presAssocID="{7A8536A3-696D-40E5-B567-31E4D7C65631}" presName="rootConnector" presStyleLbl="node2" presStyleIdx="3" presStyleCnt="4"/>
      <dgm:spPr/>
    </dgm:pt>
    <dgm:pt modelId="{EDC772DC-2C32-4ACF-B9E4-5F3F08106AE1}" type="pres">
      <dgm:prSet presAssocID="{7A8536A3-696D-40E5-B567-31E4D7C65631}" presName="hierChild4" presStyleCnt="0"/>
      <dgm:spPr/>
    </dgm:pt>
    <dgm:pt modelId="{E1E9B7C7-AF3C-45D0-BE07-F4A3F18ED4B6}" type="pres">
      <dgm:prSet presAssocID="{7A8536A3-696D-40E5-B567-31E4D7C65631}" presName="hierChild5" presStyleCnt="0"/>
      <dgm:spPr/>
    </dgm:pt>
    <dgm:pt modelId="{A123A2D4-18D6-45E0-B2D4-0FBAF05E6F3E}" type="pres">
      <dgm:prSet presAssocID="{F9D2F056-2B24-4941-AE46-682EC9AA5229}" presName="hierChild3" presStyleCnt="0"/>
      <dgm:spPr/>
    </dgm:pt>
  </dgm:ptLst>
  <dgm:cxnLst>
    <dgm:cxn modelId="{5DD7860C-1812-44DC-823D-0DD37A3347AE}" srcId="{F9D2F056-2B24-4941-AE46-682EC9AA5229}" destId="{7A8536A3-696D-40E5-B567-31E4D7C65631}" srcOrd="3" destOrd="0" parTransId="{A3A96FFA-0FAC-4A25-BA30-E0D87AA7C7BD}" sibTransId="{D73A74BC-65C4-40E2-AEBE-5CAF32C0E3AA}"/>
    <dgm:cxn modelId="{1472B110-BFED-4134-AF42-D53827AA21F3}" srcId="{F9D2F056-2B24-4941-AE46-682EC9AA5229}" destId="{B3F5C8B2-73EA-448C-8E97-6FCFD2E2A176}" srcOrd="0" destOrd="0" parTransId="{6C967068-FB78-43BA-A391-29571B410BF7}" sibTransId="{6746450F-7B49-400A-ABE6-7AC774DD063F}"/>
    <dgm:cxn modelId="{42968029-0A7A-4017-A8B1-A2554E790F83}" type="presOf" srcId="{21AAE182-A9C0-4951-AEE9-941B8D83ADA2}" destId="{1B8E8C21-20A2-413D-8161-474E30AAD7A6}" srcOrd="1" destOrd="0" presId="urn:microsoft.com/office/officeart/2005/8/layout/orgChart1"/>
    <dgm:cxn modelId="{DF4D1A32-2A01-4BC8-93E0-42CD47D67D79}" srcId="{C29AD67D-15AB-4800-B140-4283EDB8C273}" destId="{F9D2F056-2B24-4941-AE46-682EC9AA5229}" srcOrd="0" destOrd="0" parTransId="{E823F2B0-63EC-4454-AD04-005E85A13952}" sibTransId="{D150A804-694E-4A09-B85E-05CCAAE05494}"/>
    <dgm:cxn modelId="{5F14A242-36C3-4661-BC62-9FC3F48A6BC2}" type="presOf" srcId="{21AAE182-A9C0-4951-AEE9-941B8D83ADA2}" destId="{DFF80925-FDD7-4B50-A9C2-C4E69E4A4EA1}" srcOrd="0" destOrd="0" presId="urn:microsoft.com/office/officeart/2005/8/layout/orgChart1"/>
    <dgm:cxn modelId="{3538DF44-7C3E-4B10-93F6-AF90CC128EEE}" type="presOf" srcId="{B6B4DBF6-DA53-4F18-9E87-2380176B898B}" destId="{F4C20A29-EA04-42CA-A084-E4743416D138}" srcOrd="0" destOrd="0" presId="urn:microsoft.com/office/officeart/2005/8/layout/orgChart1"/>
    <dgm:cxn modelId="{21D80C47-B575-431C-9FF0-A63BC27DB7E6}" type="presOf" srcId="{7A8536A3-696D-40E5-B567-31E4D7C65631}" destId="{CE0AA596-6A2A-4114-9BE9-34A64E0FB1FE}" srcOrd="0" destOrd="0" presId="urn:microsoft.com/office/officeart/2005/8/layout/orgChart1"/>
    <dgm:cxn modelId="{9A50AE4B-B933-4C9D-8E19-34DAB38A29A7}" type="presOf" srcId="{7A8536A3-696D-40E5-B567-31E4D7C65631}" destId="{078C0549-0924-4F99-85BC-4CD1A0A48B98}" srcOrd="1" destOrd="0" presId="urn:microsoft.com/office/officeart/2005/8/layout/orgChart1"/>
    <dgm:cxn modelId="{56B41274-CF83-4BDF-8DE2-E524B3248474}" type="presOf" srcId="{1C0CBD50-C421-42AD-9764-B75F0A3EE42D}" destId="{28CCE6C5-2026-4781-B494-BDBB77F43612}" srcOrd="0" destOrd="0" presId="urn:microsoft.com/office/officeart/2005/8/layout/orgChart1"/>
    <dgm:cxn modelId="{294E0E81-9C1E-4367-BCF2-3EB04DF8E4D5}" type="presOf" srcId="{A3A96FFA-0FAC-4A25-BA30-E0D87AA7C7BD}" destId="{E5DC8FF4-23D0-49C9-932F-367EA43A19A5}" srcOrd="0" destOrd="0" presId="urn:microsoft.com/office/officeart/2005/8/layout/orgChart1"/>
    <dgm:cxn modelId="{CB71B982-D3CC-4B9E-8935-7439298036CF}" type="presOf" srcId="{B3F5C8B2-73EA-448C-8E97-6FCFD2E2A176}" destId="{BA979EF0-F577-453D-B0F7-F9814923326E}" srcOrd="0" destOrd="0" presId="urn:microsoft.com/office/officeart/2005/8/layout/orgChart1"/>
    <dgm:cxn modelId="{1F66FEBB-4F06-4FFD-82C9-DA3687E22B13}" type="presOf" srcId="{6C967068-FB78-43BA-A391-29571B410BF7}" destId="{E38EF0F5-AA9C-450C-8E08-AC967303CB13}" srcOrd="0" destOrd="0" presId="urn:microsoft.com/office/officeart/2005/8/layout/orgChart1"/>
    <dgm:cxn modelId="{7E3459BE-F151-4C16-8F74-EAAA099FC15B}" srcId="{F9D2F056-2B24-4941-AE46-682EC9AA5229}" destId="{21AAE182-A9C0-4951-AEE9-941B8D83ADA2}" srcOrd="1" destOrd="0" parTransId="{B6B4DBF6-DA53-4F18-9E87-2380176B898B}" sibTransId="{50112C5F-5D39-48B3-9B66-56047894EEF4}"/>
    <dgm:cxn modelId="{F2A1E5C5-E59D-43BC-BD70-7AE48E7ECF92}" type="presOf" srcId="{F9D2F056-2B24-4941-AE46-682EC9AA5229}" destId="{4E768D9A-5D33-4282-ACB8-676D7C9134A9}" srcOrd="0" destOrd="0" presId="urn:microsoft.com/office/officeart/2005/8/layout/orgChart1"/>
    <dgm:cxn modelId="{9255A5C7-089E-4D46-BDCD-043D3352BFAE}" type="presOf" srcId="{B3F5C8B2-73EA-448C-8E97-6FCFD2E2A176}" destId="{7D1BF179-8A85-4BF9-B7EC-7E1CB4B4F0B2}" srcOrd="1" destOrd="0" presId="urn:microsoft.com/office/officeart/2005/8/layout/orgChart1"/>
    <dgm:cxn modelId="{B6A2BDCD-6078-4F45-9246-6E64C357403C}" type="presOf" srcId="{627030F9-1644-4702-B98F-7CC5ACE2B44E}" destId="{567716C5-C7FF-48D8-9391-8BAB0787B4CA}" srcOrd="0" destOrd="0" presId="urn:microsoft.com/office/officeart/2005/8/layout/orgChart1"/>
    <dgm:cxn modelId="{FAFA58E4-7576-4048-A99F-EC69E94A5198}" type="presOf" srcId="{627030F9-1644-4702-B98F-7CC5ACE2B44E}" destId="{53A1C136-7B2C-4E4F-A056-5581ADB7CDB4}" srcOrd="1" destOrd="0" presId="urn:microsoft.com/office/officeart/2005/8/layout/orgChart1"/>
    <dgm:cxn modelId="{D5608FED-E1ED-45B9-ADF2-1E1C668267F2}" srcId="{F9D2F056-2B24-4941-AE46-682EC9AA5229}" destId="{627030F9-1644-4702-B98F-7CC5ACE2B44E}" srcOrd="2" destOrd="0" parTransId="{1C0CBD50-C421-42AD-9764-B75F0A3EE42D}" sibTransId="{60315462-15E4-4290-9B79-E504CB29A39A}"/>
    <dgm:cxn modelId="{754DD6EF-3031-444C-9E90-D96D2CAD4774}" type="presOf" srcId="{C29AD67D-15AB-4800-B140-4283EDB8C273}" destId="{5456468E-6E2A-4C50-974E-C6AC8F35F09A}" srcOrd="0" destOrd="0" presId="urn:microsoft.com/office/officeart/2005/8/layout/orgChart1"/>
    <dgm:cxn modelId="{2F4797F7-0559-47FA-A60B-42E76AFE4C04}" type="presOf" srcId="{F9D2F056-2B24-4941-AE46-682EC9AA5229}" destId="{3DB81E40-F3CE-4B3A-B3B2-79E6A4CD7D55}" srcOrd="1" destOrd="0" presId="urn:microsoft.com/office/officeart/2005/8/layout/orgChart1"/>
    <dgm:cxn modelId="{95D05253-D837-48DE-809F-060989311E60}" type="presParOf" srcId="{5456468E-6E2A-4C50-974E-C6AC8F35F09A}" destId="{7951C76A-01AA-45E0-AA04-2C89C4D383DE}" srcOrd="0" destOrd="0" presId="urn:microsoft.com/office/officeart/2005/8/layout/orgChart1"/>
    <dgm:cxn modelId="{06AA2F2B-8B2A-4FCA-B538-F290C345BA3D}" type="presParOf" srcId="{7951C76A-01AA-45E0-AA04-2C89C4D383DE}" destId="{77445DB7-D177-4B8B-9710-FF2F8FD63E45}" srcOrd="0" destOrd="0" presId="urn:microsoft.com/office/officeart/2005/8/layout/orgChart1"/>
    <dgm:cxn modelId="{65922185-D4D5-4F84-8887-CE35A033C9EC}" type="presParOf" srcId="{77445DB7-D177-4B8B-9710-FF2F8FD63E45}" destId="{4E768D9A-5D33-4282-ACB8-676D7C9134A9}" srcOrd="0" destOrd="0" presId="urn:microsoft.com/office/officeart/2005/8/layout/orgChart1"/>
    <dgm:cxn modelId="{84F058DE-1F62-46E8-AB67-C3868E67B3D4}" type="presParOf" srcId="{77445DB7-D177-4B8B-9710-FF2F8FD63E45}" destId="{3DB81E40-F3CE-4B3A-B3B2-79E6A4CD7D55}" srcOrd="1" destOrd="0" presId="urn:microsoft.com/office/officeart/2005/8/layout/orgChart1"/>
    <dgm:cxn modelId="{05F5D319-483D-4782-A8C0-0171FFC34916}" type="presParOf" srcId="{7951C76A-01AA-45E0-AA04-2C89C4D383DE}" destId="{8F5F264A-A554-4C9B-9422-A05493EB36B7}" srcOrd="1" destOrd="0" presId="urn:microsoft.com/office/officeart/2005/8/layout/orgChart1"/>
    <dgm:cxn modelId="{59BED0FF-A81B-44E8-A183-3DF34C8BEE42}" type="presParOf" srcId="{8F5F264A-A554-4C9B-9422-A05493EB36B7}" destId="{E38EF0F5-AA9C-450C-8E08-AC967303CB13}" srcOrd="0" destOrd="0" presId="urn:microsoft.com/office/officeart/2005/8/layout/orgChart1"/>
    <dgm:cxn modelId="{E4D286C9-E84F-4150-8E62-3F7CE0985393}" type="presParOf" srcId="{8F5F264A-A554-4C9B-9422-A05493EB36B7}" destId="{AD4AE5CD-E437-4723-87B7-AB4D9644F612}" srcOrd="1" destOrd="0" presId="urn:microsoft.com/office/officeart/2005/8/layout/orgChart1"/>
    <dgm:cxn modelId="{30760614-9E20-45DE-A490-87E3E2F0E5BD}" type="presParOf" srcId="{AD4AE5CD-E437-4723-87B7-AB4D9644F612}" destId="{4C30F885-7E06-4B8A-ADFE-CB72EF282C1F}" srcOrd="0" destOrd="0" presId="urn:microsoft.com/office/officeart/2005/8/layout/orgChart1"/>
    <dgm:cxn modelId="{ABF5D60F-E0F0-4BA6-A935-D7928F174AF7}" type="presParOf" srcId="{4C30F885-7E06-4B8A-ADFE-CB72EF282C1F}" destId="{BA979EF0-F577-453D-B0F7-F9814923326E}" srcOrd="0" destOrd="0" presId="urn:microsoft.com/office/officeart/2005/8/layout/orgChart1"/>
    <dgm:cxn modelId="{DB80F264-21BE-4141-87BC-ABF07600CF66}" type="presParOf" srcId="{4C30F885-7E06-4B8A-ADFE-CB72EF282C1F}" destId="{7D1BF179-8A85-4BF9-B7EC-7E1CB4B4F0B2}" srcOrd="1" destOrd="0" presId="urn:microsoft.com/office/officeart/2005/8/layout/orgChart1"/>
    <dgm:cxn modelId="{FD44DFC7-7B58-4936-8475-15E0D638964D}" type="presParOf" srcId="{AD4AE5CD-E437-4723-87B7-AB4D9644F612}" destId="{E10BF1AE-6C94-48F1-827D-8AA4665E0495}" srcOrd="1" destOrd="0" presId="urn:microsoft.com/office/officeart/2005/8/layout/orgChart1"/>
    <dgm:cxn modelId="{B2BECFAA-71CB-48BE-8C05-E3FDF527E23C}" type="presParOf" srcId="{AD4AE5CD-E437-4723-87B7-AB4D9644F612}" destId="{F889297E-0383-4D06-AE69-E4C3D61ABB59}" srcOrd="2" destOrd="0" presId="urn:microsoft.com/office/officeart/2005/8/layout/orgChart1"/>
    <dgm:cxn modelId="{5C286180-DDE1-4FC3-90F1-C8D5C62CB3D7}" type="presParOf" srcId="{8F5F264A-A554-4C9B-9422-A05493EB36B7}" destId="{F4C20A29-EA04-42CA-A084-E4743416D138}" srcOrd="2" destOrd="0" presId="urn:microsoft.com/office/officeart/2005/8/layout/orgChart1"/>
    <dgm:cxn modelId="{8C3D098E-FA37-4E28-82F6-E8D7B0C0D354}" type="presParOf" srcId="{8F5F264A-A554-4C9B-9422-A05493EB36B7}" destId="{07E299C4-D286-4F28-8E8A-A9EDA7A5A649}" srcOrd="3" destOrd="0" presId="urn:microsoft.com/office/officeart/2005/8/layout/orgChart1"/>
    <dgm:cxn modelId="{BDBE26A0-0E32-4AD6-AF0E-07A53BD34B79}" type="presParOf" srcId="{07E299C4-D286-4F28-8E8A-A9EDA7A5A649}" destId="{29E426D4-239E-400A-B852-5BB364B11140}" srcOrd="0" destOrd="0" presId="urn:microsoft.com/office/officeart/2005/8/layout/orgChart1"/>
    <dgm:cxn modelId="{B67B8862-DFAA-4C65-8B10-10E96CA52803}" type="presParOf" srcId="{29E426D4-239E-400A-B852-5BB364B11140}" destId="{DFF80925-FDD7-4B50-A9C2-C4E69E4A4EA1}" srcOrd="0" destOrd="0" presId="urn:microsoft.com/office/officeart/2005/8/layout/orgChart1"/>
    <dgm:cxn modelId="{571269C1-0F3D-4255-8845-35DC4CA94553}" type="presParOf" srcId="{29E426D4-239E-400A-B852-5BB364B11140}" destId="{1B8E8C21-20A2-413D-8161-474E30AAD7A6}" srcOrd="1" destOrd="0" presId="urn:microsoft.com/office/officeart/2005/8/layout/orgChart1"/>
    <dgm:cxn modelId="{9672F398-6F02-4FFE-95B3-B5E02CB7910F}" type="presParOf" srcId="{07E299C4-D286-4F28-8E8A-A9EDA7A5A649}" destId="{691C3E33-6D1B-4E45-9945-87E943382CD9}" srcOrd="1" destOrd="0" presId="urn:microsoft.com/office/officeart/2005/8/layout/orgChart1"/>
    <dgm:cxn modelId="{DD1F1AB7-8FFB-4C1F-9A1E-537C452F30F0}" type="presParOf" srcId="{07E299C4-D286-4F28-8E8A-A9EDA7A5A649}" destId="{64B3FE24-F6F4-4D34-A9A4-310028949194}" srcOrd="2" destOrd="0" presId="urn:microsoft.com/office/officeart/2005/8/layout/orgChart1"/>
    <dgm:cxn modelId="{D4D17EB1-5661-4CAF-BD19-918CF005BD0C}" type="presParOf" srcId="{8F5F264A-A554-4C9B-9422-A05493EB36B7}" destId="{28CCE6C5-2026-4781-B494-BDBB77F43612}" srcOrd="4" destOrd="0" presId="urn:microsoft.com/office/officeart/2005/8/layout/orgChart1"/>
    <dgm:cxn modelId="{2FA8B75E-700F-4D4D-8F7D-6F14110D9B42}" type="presParOf" srcId="{8F5F264A-A554-4C9B-9422-A05493EB36B7}" destId="{D59227FC-29B6-4773-82CF-D0486F16D86C}" srcOrd="5" destOrd="0" presId="urn:microsoft.com/office/officeart/2005/8/layout/orgChart1"/>
    <dgm:cxn modelId="{6C37A9F3-CC0F-49BA-8ECF-5BA3C74EE7F1}" type="presParOf" srcId="{D59227FC-29B6-4773-82CF-D0486F16D86C}" destId="{D0F21421-0744-4F4B-B0EB-95F189C02413}" srcOrd="0" destOrd="0" presId="urn:microsoft.com/office/officeart/2005/8/layout/orgChart1"/>
    <dgm:cxn modelId="{0262A3BD-C8D6-43BF-B1F1-13CB419C2444}" type="presParOf" srcId="{D0F21421-0744-4F4B-B0EB-95F189C02413}" destId="{567716C5-C7FF-48D8-9391-8BAB0787B4CA}" srcOrd="0" destOrd="0" presId="urn:microsoft.com/office/officeart/2005/8/layout/orgChart1"/>
    <dgm:cxn modelId="{E5C8F8BB-873D-4E5D-AAF6-5A7EDC23B2C8}" type="presParOf" srcId="{D0F21421-0744-4F4B-B0EB-95F189C02413}" destId="{53A1C136-7B2C-4E4F-A056-5581ADB7CDB4}" srcOrd="1" destOrd="0" presId="urn:microsoft.com/office/officeart/2005/8/layout/orgChart1"/>
    <dgm:cxn modelId="{B7FD9F7D-8DA6-4800-8F85-AA49196040C6}" type="presParOf" srcId="{D59227FC-29B6-4773-82CF-D0486F16D86C}" destId="{F8189EB6-1364-4B7D-B053-A192B75C5A04}" srcOrd="1" destOrd="0" presId="urn:microsoft.com/office/officeart/2005/8/layout/orgChart1"/>
    <dgm:cxn modelId="{597163CE-9B7F-4CAB-954B-512542DDE24A}" type="presParOf" srcId="{D59227FC-29B6-4773-82CF-D0486F16D86C}" destId="{60CF431F-7031-44CE-A2B5-4ADEF359640B}" srcOrd="2" destOrd="0" presId="urn:microsoft.com/office/officeart/2005/8/layout/orgChart1"/>
    <dgm:cxn modelId="{7EFEDD30-8A73-45D5-ABB5-FE304BCF0379}" type="presParOf" srcId="{8F5F264A-A554-4C9B-9422-A05493EB36B7}" destId="{E5DC8FF4-23D0-49C9-932F-367EA43A19A5}" srcOrd="6" destOrd="0" presId="urn:microsoft.com/office/officeart/2005/8/layout/orgChart1"/>
    <dgm:cxn modelId="{5546B773-3A4D-46E2-91BA-3FB021983C50}" type="presParOf" srcId="{8F5F264A-A554-4C9B-9422-A05493EB36B7}" destId="{D7FC8E9C-3660-4C74-A45C-90ACBD8A7CB3}" srcOrd="7" destOrd="0" presId="urn:microsoft.com/office/officeart/2005/8/layout/orgChart1"/>
    <dgm:cxn modelId="{4AC41E60-5A56-4326-8610-039E8F5D65CE}" type="presParOf" srcId="{D7FC8E9C-3660-4C74-A45C-90ACBD8A7CB3}" destId="{B38AB34E-442D-4AA7-A9AF-1574CDF60E2B}" srcOrd="0" destOrd="0" presId="urn:microsoft.com/office/officeart/2005/8/layout/orgChart1"/>
    <dgm:cxn modelId="{AF6C0FC4-A5DD-4132-B9FF-901FEB4E5C44}" type="presParOf" srcId="{B38AB34E-442D-4AA7-A9AF-1574CDF60E2B}" destId="{CE0AA596-6A2A-4114-9BE9-34A64E0FB1FE}" srcOrd="0" destOrd="0" presId="urn:microsoft.com/office/officeart/2005/8/layout/orgChart1"/>
    <dgm:cxn modelId="{29B5EB43-B94E-4A2A-AF74-8D62B15996AD}" type="presParOf" srcId="{B38AB34E-442D-4AA7-A9AF-1574CDF60E2B}" destId="{078C0549-0924-4F99-85BC-4CD1A0A48B98}" srcOrd="1" destOrd="0" presId="urn:microsoft.com/office/officeart/2005/8/layout/orgChart1"/>
    <dgm:cxn modelId="{3C119DB6-E48E-49A6-9736-174BD7394E16}" type="presParOf" srcId="{D7FC8E9C-3660-4C74-A45C-90ACBD8A7CB3}" destId="{EDC772DC-2C32-4ACF-B9E4-5F3F08106AE1}" srcOrd="1" destOrd="0" presId="urn:microsoft.com/office/officeart/2005/8/layout/orgChart1"/>
    <dgm:cxn modelId="{75F35B6D-92F3-4DFE-A4DB-218D009DEE1C}" type="presParOf" srcId="{D7FC8E9C-3660-4C74-A45C-90ACBD8A7CB3}" destId="{E1E9B7C7-AF3C-45D0-BE07-F4A3F18ED4B6}" srcOrd="2" destOrd="0" presId="urn:microsoft.com/office/officeart/2005/8/layout/orgChart1"/>
    <dgm:cxn modelId="{E2F3AB77-4CB0-4FE3-8F44-EC15B2A77CD2}" type="presParOf" srcId="{7951C76A-01AA-45E0-AA04-2C89C4D383DE}" destId="{A123A2D4-18D6-45E0-B2D4-0FBAF05E6F3E}" srcOrd="2" destOrd="0" presId="urn:microsoft.com/office/officeart/2005/8/layout/orgChart1"/>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F7FB44B-21A7-496B-9A24-32746BA8BED3}" type="doc">
      <dgm:prSet loTypeId="urn:microsoft.com/office/officeart/2005/8/layout/vList2" loCatId="list" qsTypeId="urn:microsoft.com/office/officeart/2005/8/quickstyle/simple4" qsCatId="simple" csTypeId="urn:microsoft.com/office/officeart/2005/8/colors/colorful1" csCatId="colorful" phldr="1"/>
      <dgm:spPr/>
      <dgm:t>
        <a:bodyPr/>
        <a:lstStyle/>
        <a:p>
          <a:endParaRPr lang="en-US"/>
        </a:p>
      </dgm:t>
    </dgm:pt>
    <dgm:pt modelId="{43CDF7A3-DA5D-44F1-8B98-387E683FD3FB}">
      <dgm:prSet/>
      <dgm:spPr/>
      <dgm:t>
        <a:bodyPr/>
        <a:lstStyle/>
        <a:p>
          <a:r>
            <a:rPr lang="en-US" baseline="0" dirty="0"/>
            <a:t>For systems reporting eight or more CPUs per NUMA node.</a:t>
          </a:r>
          <a:endParaRPr lang="en-US" dirty="0"/>
        </a:p>
      </dgm:t>
    </dgm:pt>
    <dgm:pt modelId="{D37B41F1-682F-4343-8B3F-9FCF99FA52D0}" type="parTrans" cxnId="{B04A2F4F-D5F4-4A08-BB42-A4A5BB56125D}">
      <dgm:prSet/>
      <dgm:spPr/>
      <dgm:t>
        <a:bodyPr/>
        <a:lstStyle/>
        <a:p>
          <a:endParaRPr lang="en-US"/>
        </a:p>
      </dgm:t>
    </dgm:pt>
    <dgm:pt modelId="{6A679964-E1CD-4187-95CC-C7833A1DEEF0}" type="sibTrans" cxnId="{B04A2F4F-D5F4-4A08-BB42-A4A5BB56125D}">
      <dgm:prSet/>
      <dgm:spPr/>
      <dgm:t>
        <a:bodyPr/>
        <a:lstStyle/>
        <a:p>
          <a:endParaRPr lang="en-US"/>
        </a:p>
      </dgm:t>
    </dgm:pt>
    <dgm:pt modelId="{70969F88-1F5C-4E51-A95D-6BF24CD1F0A0}">
      <dgm:prSet/>
      <dgm:spPr/>
      <dgm:t>
        <a:bodyPr/>
        <a:lstStyle/>
        <a:p>
          <a:r>
            <a:rPr lang="en-US" baseline="0" dirty="0"/>
            <a:t>At startup, SQL Server 2016 interrogates the hardware layout and automatically configures Soft NUMA.</a:t>
          </a:r>
          <a:endParaRPr lang="en-US" dirty="0"/>
        </a:p>
      </dgm:t>
    </dgm:pt>
    <dgm:pt modelId="{6680689F-AA66-4F92-B0A1-8E33CC552144}" type="parTrans" cxnId="{6746BA2B-9D96-4FB7-9B57-43B3DC304FDD}">
      <dgm:prSet/>
      <dgm:spPr/>
      <dgm:t>
        <a:bodyPr/>
        <a:lstStyle/>
        <a:p>
          <a:endParaRPr lang="en-US"/>
        </a:p>
      </dgm:t>
    </dgm:pt>
    <dgm:pt modelId="{81AA373C-FDE1-4D72-9351-B0837FC64442}" type="sibTrans" cxnId="{6746BA2B-9D96-4FB7-9B57-43B3DC304FDD}">
      <dgm:prSet/>
      <dgm:spPr/>
      <dgm:t>
        <a:bodyPr/>
        <a:lstStyle/>
        <a:p>
          <a:endParaRPr lang="en-US"/>
        </a:p>
      </dgm:t>
    </dgm:pt>
    <dgm:pt modelId="{25EB4BBE-CEBC-49E5-8EF0-CDA3B7E1134F}">
      <dgm:prSet/>
      <dgm:spPr/>
      <dgm:t>
        <a:bodyPr/>
        <a:lstStyle/>
        <a:p>
          <a:r>
            <a:rPr lang="en-US" baseline="0" dirty="0"/>
            <a:t>The Automatic Soft NUMA logic considers logical CPU ratios, total CPU counts and other factors, attempting to create soft, logical nodes containing 8 or fewer CPUs each.</a:t>
          </a:r>
          <a:endParaRPr lang="en-US" dirty="0"/>
        </a:p>
      </dgm:t>
    </dgm:pt>
    <dgm:pt modelId="{284DC691-4544-49B3-AC5A-42944CB949BC}" type="parTrans" cxnId="{37883B8E-020E-480F-AF01-2D58D0A8DB93}">
      <dgm:prSet/>
      <dgm:spPr/>
      <dgm:t>
        <a:bodyPr/>
        <a:lstStyle/>
        <a:p>
          <a:endParaRPr lang="en-US"/>
        </a:p>
      </dgm:t>
    </dgm:pt>
    <dgm:pt modelId="{7545A325-78B0-432B-A6CA-C1831EDC1B8B}" type="sibTrans" cxnId="{37883B8E-020E-480F-AF01-2D58D0A8DB93}">
      <dgm:prSet/>
      <dgm:spPr/>
      <dgm:t>
        <a:bodyPr/>
        <a:lstStyle/>
        <a:p>
          <a:endParaRPr lang="en-US"/>
        </a:p>
      </dgm:t>
    </dgm:pt>
    <dgm:pt modelId="{91FB15E5-02E0-4357-8731-8D22EA5EAA30}">
      <dgm:prSet/>
      <dgm:spPr/>
      <dgm:t>
        <a:bodyPr/>
        <a:lstStyle/>
        <a:p>
          <a:r>
            <a:rPr lang="en-US" baseline="0" dirty="0"/>
            <a:t>It can provide a gain of up to 20%.</a:t>
          </a:r>
          <a:endParaRPr lang="en-US" dirty="0"/>
        </a:p>
      </dgm:t>
    </dgm:pt>
    <dgm:pt modelId="{6A34BAC8-9166-42C2-85B7-1F4B48976D4F}" type="parTrans" cxnId="{A039C018-54DD-4DAF-B927-4EF2D48AD4CD}">
      <dgm:prSet/>
      <dgm:spPr/>
      <dgm:t>
        <a:bodyPr/>
        <a:lstStyle/>
        <a:p>
          <a:endParaRPr lang="en-US"/>
        </a:p>
      </dgm:t>
    </dgm:pt>
    <dgm:pt modelId="{D6F64D60-33AC-4747-B9D7-3DDE3A9BDBC9}" type="sibTrans" cxnId="{A039C018-54DD-4DAF-B927-4EF2D48AD4CD}">
      <dgm:prSet/>
      <dgm:spPr/>
      <dgm:t>
        <a:bodyPr/>
        <a:lstStyle/>
        <a:p>
          <a:endParaRPr lang="en-US"/>
        </a:p>
      </dgm:t>
    </dgm:pt>
    <dgm:pt modelId="{F381B7D7-4448-4149-BA85-37BD21FF2B6F}" type="pres">
      <dgm:prSet presAssocID="{AF7FB44B-21A7-496B-9A24-32746BA8BED3}" presName="linear" presStyleCnt="0">
        <dgm:presLayoutVars>
          <dgm:animLvl val="lvl"/>
          <dgm:resizeHandles val="exact"/>
        </dgm:presLayoutVars>
      </dgm:prSet>
      <dgm:spPr/>
    </dgm:pt>
    <dgm:pt modelId="{0EC70A63-F036-470A-B70C-7796FB732D31}" type="pres">
      <dgm:prSet presAssocID="{43CDF7A3-DA5D-44F1-8B98-387E683FD3FB}" presName="parentText" presStyleLbl="node1" presStyleIdx="0" presStyleCnt="4">
        <dgm:presLayoutVars>
          <dgm:chMax val="0"/>
          <dgm:bulletEnabled val="1"/>
        </dgm:presLayoutVars>
      </dgm:prSet>
      <dgm:spPr/>
    </dgm:pt>
    <dgm:pt modelId="{AC9A90A3-C90C-4422-A530-4F9B9B8C164C}" type="pres">
      <dgm:prSet presAssocID="{6A679964-E1CD-4187-95CC-C7833A1DEEF0}" presName="spacer" presStyleCnt="0"/>
      <dgm:spPr/>
    </dgm:pt>
    <dgm:pt modelId="{FC79623A-3003-4229-BE4B-9488B4D34532}" type="pres">
      <dgm:prSet presAssocID="{70969F88-1F5C-4E51-A95D-6BF24CD1F0A0}" presName="parentText" presStyleLbl="node1" presStyleIdx="1" presStyleCnt="4">
        <dgm:presLayoutVars>
          <dgm:chMax val="0"/>
          <dgm:bulletEnabled val="1"/>
        </dgm:presLayoutVars>
      </dgm:prSet>
      <dgm:spPr/>
    </dgm:pt>
    <dgm:pt modelId="{6F33CCEA-18C5-4A5D-ACA6-FF2893E2F9D2}" type="pres">
      <dgm:prSet presAssocID="{81AA373C-FDE1-4D72-9351-B0837FC64442}" presName="spacer" presStyleCnt="0"/>
      <dgm:spPr/>
    </dgm:pt>
    <dgm:pt modelId="{91D6D177-BAA9-46E2-82C1-630CFBE1023F}" type="pres">
      <dgm:prSet presAssocID="{25EB4BBE-CEBC-49E5-8EF0-CDA3B7E1134F}" presName="parentText" presStyleLbl="node1" presStyleIdx="2" presStyleCnt="4">
        <dgm:presLayoutVars>
          <dgm:chMax val="0"/>
          <dgm:bulletEnabled val="1"/>
        </dgm:presLayoutVars>
      </dgm:prSet>
      <dgm:spPr/>
    </dgm:pt>
    <dgm:pt modelId="{96B6376D-C1F0-49AB-B7DF-EE11A657C199}" type="pres">
      <dgm:prSet presAssocID="{7545A325-78B0-432B-A6CA-C1831EDC1B8B}" presName="spacer" presStyleCnt="0"/>
      <dgm:spPr/>
    </dgm:pt>
    <dgm:pt modelId="{28C25AE6-6E48-45F4-BE13-0C7B459C5E69}" type="pres">
      <dgm:prSet presAssocID="{91FB15E5-02E0-4357-8731-8D22EA5EAA30}" presName="parentText" presStyleLbl="node1" presStyleIdx="3" presStyleCnt="4" custLinFactNeighborY="-5503">
        <dgm:presLayoutVars>
          <dgm:chMax val="0"/>
          <dgm:bulletEnabled val="1"/>
        </dgm:presLayoutVars>
      </dgm:prSet>
      <dgm:spPr/>
    </dgm:pt>
  </dgm:ptLst>
  <dgm:cxnLst>
    <dgm:cxn modelId="{A039C018-54DD-4DAF-B927-4EF2D48AD4CD}" srcId="{AF7FB44B-21A7-496B-9A24-32746BA8BED3}" destId="{91FB15E5-02E0-4357-8731-8D22EA5EAA30}" srcOrd="3" destOrd="0" parTransId="{6A34BAC8-9166-42C2-85B7-1F4B48976D4F}" sibTransId="{D6F64D60-33AC-4747-B9D7-3DDE3A9BDBC9}"/>
    <dgm:cxn modelId="{6746BA2B-9D96-4FB7-9B57-43B3DC304FDD}" srcId="{AF7FB44B-21A7-496B-9A24-32746BA8BED3}" destId="{70969F88-1F5C-4E51-A95D-6BF24CD1F0A0}" srcOrd="1" destOrd="0" parTransId="{6680689F-AA66-4F92-B0A1-8E33CC552144}" sibTransId="{81AA373C-FDE1-4D72-9351-B0837FC64442}"/>
    <dgm:cxn modelId="{1C6EEC4C-7F83-4296-BE12-43B557D86765}" type="presOf" srcId="{91FB15E5-02E0-4357-8731-8D22EA5EAA30}" destId="{28C25AE6-6E48-45F4-BE13-0C7B459C5E69}" srcOrd="0" destOrd="0" presId="urn:microsoft.com/office/officeart/2005/8/layout/vList2"/>
    <dgm:cxn modelId="{B04A2F4F-D5F4-4A08-BB42-A4A5BB56125D}" srcId="{AF7FB44B-21A7-496B-9A24-32746BA8BED3}" destId="{43CDF7A3-DA5D-44F1-8B98-387E683FD3FB}" srcOrd="0" destOrd="0" parTransId="{D37B41F1-682F-4343-8B3F-9FCF99FA52D0}" sibTransId="{6A679964-E1CD-4187-95CC-C7833A1DEEF0}"/>
    <dgm:cxn modelId="{37883B8E-020E-480F-AF01-2D58D0A8DB93}" srcId="{AF7FB44B-21A7-496B-9A24-32746BA8BED3}" destId="{25EB4BBE-CEBC-49E5-8EF0-CDA3B7E1134F}" srcOrd="2" destOrd="0" parTransId="{284DC691-4544-49B3-AC5A-42944CB949BC}" sibTransId="{7545A325-78B0-432B-A6CA-C1831EDC1B8B}"/>
    <dgm:cxn modelId="{6C60F898-C83B-44E9-8687-FB333C0D8B66}" type="presOf" srcId="{43CDF7A3-DA5D-44F1-8B98-387E683FD3FB}" destId="{0EC70A63-F036-470A-B70C-7796FB732D31}" srcOrd="0" destOrd="0" presId="urn:microsoft.com/office/officeart/2005/8/layout/vList2"/>
    <dgm:cxn modelId="{AA0F2E99-0D26-4F7E-935E-AA0FEA5C817A}" type="presOf" srcId="{AF7FB44B-21A7-496B-9A24-32746BA8BED3}" destId="{F381B7D7-4448-4149-BA85-37BD21FF2B6F}" srcOrd="0" destOrd="0" presId="urn:microsoft.com/office/officeart/2005/8/layout/vList2"/>
    <dgm:cxn modelId="{3CB4C6AE-ED37-47AB-BFE7-7BD7A5C664A1}" type="presOf" srcId="{70969F88-1F5C-4E51-A95D-6BF24CD1F0A0}" destId="{FC79623A-3003-4229-BE4B-9488B4D34532}" srcOrd="0" destOrd="0" presId="urn:microsoft.com/office/officeart/2005/8/layout/vList2"/>
    <dgm:cxn modelId="{FFCFA6E0-B456-4A7A-B4E6-CB2C40B38D11}" type="presOf" srcId="{25EB4BBE-CEBC-49E5-8EF0-CDA3B7E1134F}" destId="{91D6D177-BAA9-46E2-82C1-630CFBE1023F}" srcOrd="0" destOrd="0" presId="urn:microsoft.com/office/officeart/2005/8/layout/vList2"/>
    <dgm:cxn modelId="{2A2CF999-CCBD-4F8D-BD3A-A847853D73C4}" type="presParOf" srcId="{F381B7D7-4448-4149-BA85-37BD21FF2B6F}" destId="{0EC70A63-F036-470A-B70C-7796FB732D31}" srcOrd="0" destOrd="0" presId="urn:microsoft.com/office/officeart/2005/8/layout/vList2"/>
    <dgm:cxn modelId="{2A095C83-F98E-420D-AE75-FB92D0307AD3}" type="presParOf" srcId="{F381B7D7-4448-4149-BA85-37BD21FF2B6F}" destId="{AC9A90A3-C90C-4422-A530-4F9B9B8C164C}" srcOrd="1" destOrd="0" presId="urn:microsoft.com/office/officeart/2005/8/layout/vList2"/>
    <dgm:cxn modelId="{BC497918-92FE-43B6-9092-A8470F4D0F7D}" type="presParOf" srcId="{F381B7D7-4448-4149-BA85-37BD21FF2B6F}" destId="{FC79623A-3003-4229-BE4B-9488B4D34532}" srcOrd="2" destOrd="0" presId="urn:microsoft.com/office/officeart/2005/8/layout/vList2"/>
    <dgm:cxn modelId="{5C90D0BC-47CC-4F65-83B8-052D157EDE45}" type="presParOf" srcId="{F381B7D7-4448-4149-BA85-37BD21FF2B6F}" destId="{6F33CCEA-18C5-4A5D-ACA6-FF2893E2F9D2}" srcOrd="3" destOrd="0" presId="urn:microsoft.com/office/officeart/2005/8/layout/vList2"/>
    <dgm:cxn modelId="{80BDDFC3-0AF4-441D-A6AD-9CCCA92DF800}" type="presParOf" srcId="{F381B7D7-4448-4149-BA85-37BD21FF2B6F}" destId="{91D6D177-BAA9-46E2-82C1-630CFBE1023F}" srcOrd="4" destOrd="0" presId="urn:microsoft.com/office/officeart/2005/8/layout/vList2"/>
    <dgm:cxn modelId="{8148AD95-62AC-4884-AF6D-728D846C1128}" type="presParOf" srcId="{F381B7D7-4448-4149-BA85-37BD21FF2B6F}" destId="{96B6376D-C1F0-49AB-B7DF-EE11A657C199}" srcOrd="5" destOrd="0" presId="urn:microsoft.com/office/officeart/2005/8/layout/vList2"/>
    <dgm:cxn modelId="{4AF0B1B5-6E42-4248-A0D4-4B4D677EA8FE}" type="presParOf" srcId="{F381B7D7-4448-4149-BA85-37BD21FF2B6F}" destId="{28C25AE6-6E48-45F4-BE13-0C7B459C5E69}"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FC7F911-1992-4A8F-BB9A-1484A5B1F811}" type="doc">
      <dgm:prSet loTypeId="urn:microsoft.com/office/officeart/2018/2/layout/IconVerticalSolidList" loCatId="icon" qsTypeId="urn:microsoft.com/office/officeart/2005/8/quickstyle/simple1" qsCatId="simple" csTypeId="urn:microsoft.com/office/officeart/2005/8/colors/colorful2" csCatId="colorful" phldr="1"/>
      <dgm:spPr/>
      <dgm:t>
        <a:bodyPr/>
        <a:lstStyle/>
        <a:p>
          <a:endParaRPr lang="en-US"/>
        </a:p>
      </dgm:t>
    </dgm:pt>
    <dgm:pt modelId="{CA2B3C89-BE26-4A51-A333-A2B3D64B9A92}">
      <dgm:prSet custT="1"/>
      <dgm:spPr/>
      <dgm:t>
        <a:bodyPr/>
        <a:lstStyle/>
        <a:p>
          <a:pPr>
            <a:lnSpc>
              <a:spcPct val="100000"/>
            </a:lnSpc>
          </a:pPr>
          <a:r>
            <a:rPr lang="en-US" sz="2400" dirty="0"/>
            <a:t>Automatic Soft NUMA is Hyperthreaded-aware</a:t>
          </a:r>
        </a:p>
      </dgm:t>
    </dgm:pt>
    <dgm:pt modelId="{C64B0E4F-8841-4DF4-B94E-81C3ECE5B953}" type="parTrans" cxnId="{71AE4F82-B2A7-4FE7-BF32-11A679BC80DB}">
      <dgm:prSet/>
      <dgm:spPr/>
      <dgm:t>
        <a:bodyPr/>
        <a:lstStyle/>
        <a:p>
          <a:endParaRPr lang="en-US"/>
        </a:p>
      </dgm:t>
    </dgm:pt>
    <dgm:pt modelId="{053FA55A-9EC3-49B1-BEB2-0B1704ABD252}" type="sibTrans" cxnId="{71AE4F82-B2A7-4FE7-BF32-11A679BC80DB}">
      <dgm:prSet/>
      <dgm:spPr/>
      <dgm:t>
        <a:bodyPr/>
        <a:lstStyle/>
        <a:p>
          <a:endParaRPr lang="en-US"/>
        </a:p>
      </dgm:t>
    </dgm:pt>
    <dgm:pt modelId="{77656B0D-991E-4444-A2C5-CFDCDFD8A34D}">
      <dgm:prSet custT="1"/>
      <dgm:spPr/>
      <dgm:t>
        <a:bodyPr/>
        <a:lstStyle/>
        <a:p>
          <a:pPr>
            <a:lnSpc>
              <a:spcPct val="100000"/>
            </a:lnSpc>
          </a:pPr>
          <a:r>
            <a:rPr lang="en-US" sz="2400" dirty="0"/>
            <a:t>Check the errorlog for:</a:t>
          </a:r>
          <a:r>
            <a:rPr lang="en-US" sz="2300" dirty="0"/>
            <a:t> </a:t>
          </a:r>
        </a:p>
      </dgm:t>
    </dgm:pt>
    <dgm:pt modelId="{F51E91CD-70E5-40BE-BE45-F8443E6D64BE}" type="parTrans" cxnId="{B223C0D1-6D4B-494F-8F2E-DE1E15A714FD}">
      <dgm:prSet/>
      <dgm:spPr/>
      <dgm:t>
        <a:bodyPr/>
        <a:lstStyle/>
        <a:p>
          <a:endParaRPr lang="en-US"/>
        </a:p>
      </dgm:t>
    </dgm:pt>
    <dgm:pt modelId="{58072B0E-C331-4E0E-A88C-9056B760D70D}" type="sibTrans" cxnId="{B223C0D1-6D4B-494F-8F2E-DE1E15A714FD}">
      <dgm:prSet/>
      <dgm:spPr/>
      <dgm:t>
        <a:bodyPr/>
        <a:lstStyle/>
        <a:p>
          <a:endParaRPr lang="en-US"/>
        </a:p>
      </dgm:t>
    </dgm:pt>
    <dgm:pt modelId="{64112BA5-D90E-48FE-920C-B6E524E283FE}">
      <dgm:prSet/>
      <dgm:spPr/>
      <dgm:t>
        <a:bodyPr/>
        <a:lstStyle/>
        <a:p>
          <a:pPr>
            <a:lnSpc>
              <a:spcPct val="100000"/>
            </a:lnSpc>
          </a:pPr>
          <a:r>
            <a:rPr lang="en-US" i="1" dirty="0"/>
            <a:t>Automatic soft-NUMA was enabled because SQL Server has detected hardware NUMA nodes with greater than 8 logical processors.</a:t>
          </a:r>
          <a:endParaRPr lang="en-US" dirty="0"/>
        </a:p>
      </dgm:t>
    </dgm:pt>
    <dgm:pt modelId="{A8FD68B8-772C-439A-B73C-69BA15EE27FC}" type="parTrans" cxnId="{F3E90845-16F2-4EBB-BEE8-F8E96F51B071}">
      <dgm:prSet/>
      <dgm:spPr/>
      <dgm:t>
        <a:bodyPr/>
        <a:lstStyle/>
        <a:p>
          <a:endParaRPr lang="en-US"/>
        </a:p>
      </dgm:t>
    </dgm:pt>
    <dgm:pt modelId="{5AFC17A8-3520-4FFC-81AC-F6E43FD3E3E5}" type="sibTrans" cxnId="{F3E90845-16F2-4EBB-BEE8-F8E96F51B071}">
      <dgm:prSet/>
      <dgm:spPr/>
      <dgm:t>
        <a:bodyPr/>
        <a:lstStyle/>
        <a:p>
          <a:endParaRPr lang="en-US"/>
        </a:p>
      </dgm:t>
    </dgm:pt>
    <dgm:pt modelId="{4FF78D2A-8600-4686-9736-710035FD8040}">
      <dgm:prSet custT="1"/>
      <dgm:spPr/>
      <dgm:t>
        <a:bodyPr/>
        <a:lstStyle/>
        <a:p>
          <a:pPr>
            <a:lnSpc>
              <a:spcPct val="100000"/>
            </a:lnSpc>
          </a:pPr>
          <a:r>
            <a:rPr lang="en-US" sz="2400" dirty="0"/>
            <a:t>Check </a:t>
          </a:r>
          <a:r>
            <a:rPr lang="en-US" sz="2400" b="1" dirty="0"/>
            <a:t>softnuma_configuration_desc</a:t>
          </a:r>
          <a:r>
            <a:rPr lang="en-US" sz="2400" dirty="0"/>
            <a:t> column in sys.dm_os_sys_info for one of the three values: </a:t>
          </a:r>
          <a:r>
            <a:rPr lang="en-US" sz="2400" b="1" dirty="0"/>
            <a:t>OFF / ON / MANUAL</a:t>
          </a:r>
          <a:endParaRPr lang="en-US" sz="2400" dirty="0"/>
        </a:p>
      </dgm:t>
    </dgm:pt>
    <dgm:pt modelId="{C0E1BB1B-2469-4FAB-88BA-53B792AFF3C9}" type="parTrans" cxnId="{BE54C5D8-8552-48AA-92D9-7354DA010610}">
      <dgm:prSet/>
      <dgm:spPr/>
      <dgm:t>
        <a:bodyPr/>
        <a:lstStyle/>
        <a:p>
          <a:endParaRPr lang="en-US"/>
        </a:p>
      </dgm:t>
    </dgm:pt>
    <dgm:pt modelId="{E6966478-097A-46FB-9614-F4F3B1D3F357}" type="sibTrans" cxnId="{BE54C5D8-8552-48AA-92D9-7354DA010610}">
      <dgm:prSet/>
      <dgm:spPr/>
      <dgm:t>
        <a:bodyPr/>
        <a:lstStyle/>
        <a:p>
          <a:endParaRPr lang="en-US"/>
        </a:p>
      </dgm:t>
    </dgm:pt>
    <dgm:pt modelId="{2666F5E5-143F-4CE6-9EEA-47F453E26F08}" type="pres">
      <dgm:prSet presAssocID="{DFC7F911-1992-4A8F-BB9A-1484A5B1F811}" presName="root" presStyleCnt="0">
        <dgm:presLayoutVars>
          <dgm:dir/>
          <dgm:resizeHandles val="exact"/>
        </dgm:presLayoutVars>
      </dgm:prSet>
      <dgm:spPr/>
    </dgm:pt>
    <dgm:pt modelId="{D7469CB8-940C-4EA9-A2FB-708269A34693}" type="pres">
      <dgm:prSet presAssocID="{CA2B3C89-BE26-4A51-A333-A2B3D64B9A92}" presName="compNode" presStyleCnt="0"/>
      <dgm:spPr/>
    </dgm:pt>
    <dgm:pt modelId="{312B7ED2-9867-4642-BDE7-604B1C053C15}" type="pres">
      <dgm:prSet presAssocID="{CA2B3C89-BE26-4A51-A333-A2B3D64B9A92}" presName="bgRect" presStyleLbl="bgShp" presStyleIdx="0" presStyleCnt="3"/>
      <dgm:spPr/>
    </dgm:pt>
    <dgm:pt modelId="{E4606710-1109-4520-889D-3C6F78EA936B}" type="pres">
      <dgm:prSet presAssocID="{CA2B3C89-BE26-4A51-A333-A2B3D64B9A92}"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Wind Chime"/>
        </a:ext>
      </dgm:extLst>
    </dgm:pt>
    <dgm:pt modelId="{FFE3AC9B-4C9D-4BDE-BE77-25A0612D92EA}" type="pres">
      <dgm:prSet presAssocID="{CA2B3C89-BE26-4A51-A333-A2B3D64B9A92}" presName="spaceRect" presStyleCnt="0"/>
      <dgm:spPr/>
    </dgm:pt>
    <dgm:pt modelId="{6C7CE52B-B1BA-46ED-BAC1-729D9E500C68}" type="pres">
      <dgm:prSet presAssocID="{CA2B3C89-BE26-4A51-A333-A2B3D64B9A92}" presName="parTx" presStyleLbl="revTx" presStyleIdx="0" presStyleCnt="4">
        <dgm:presLayoutVars>
          <dgm:chMax val="0"/>
          <dgm:chPref val="0"/>
        </dgm:presLayoutVars>
      </dgm:prSet>
      <dgm:spPr/>
    </dgm:pt>
    <dgm:pt modelId="{2CE553EC-699B-448B-89B6-6F75383F7A62}" type="pres">
      <dgm:prSet presAssocID="{053FA55A-9EC3-49B1-BEB2-0B1704ABD252}" presName="sibTrans" presStyleCnt="0"/>
      <dgm:spPr/>
    </dgm:pt>
    <dgm:pt modelId="{F9593723-5513-49BD-A450-099D22769871}" type="pres">
      <dgm:prSet presAssocID="{77656B0D-991E-4444-A2C5-CFDCDFD8A34D}" presName="compNode" presStyleCnt="0"/>
      <dgm:spPr/>
    </dgm:pt>
    <dgm:pt modelId="{1CAF912A-E4D0-48F5-A9DF-87B696C52C82}" type="pres">
      <dgm:prSet presAssocID="{77656B0D-991E-4444-A2C5-CFDCDFD8A34D}" presName="bgRect" presStyleLbl="bgShp" presStyleIdx="1" presStyleCnt="3"/>
      <dgm:spPr/>
    </dgm:pt>
    <dgm:pt modelId="{CE86E841-D730-461A-9432-5088B8989E37}" type="pres">
      <dgm:prSet presAssocID="{77656B0D-991E-4444-A2C5-CFDCDFD8A34D}"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Processor"/>
        </a:ext>
      </dgm:extLst>
    </dgm:pt>
    <dgm:pt modelId="{A73079AA-CEFA-4421-8122-2195DCA80449}" type="pres">
      <dgm:prSet presAssocID="{77656B0D-991E-4444-A2C5-CFDCDFD8A34D}" presName="spaceRect" presStyleCnt="0"/>
      <dgm:spPr/>
    </dgm:pt>
    <dgm:pt modelId="{43774FDC-50EE-4C69-AD29-8F801130A40A}" type="pres">
      <dgm:prSet presAssocID="{77656B0D-991E-4444-A2C5-CFDCDFD8A34D}" presName="parTx" presStyleLbl="revTx" presStyleIdx="1" presStyleCnt="4">
        <dgm:presLayoutVars>
          <dgm:chMax val="0"/>
          <dgm:chPref val="0"/>
        </dgm:presLayoutVars>
      </dgm:prSet>
      <dgm:spPr/>
    </dgm:pt>
    <dgm:pt modelId="{0EA5ED5C-18EB-4AE4-8CD3-F8FDF9EE493C}" type="pres">
      <dgm:prSet presAssocID="{77656B0D-991E-4444-A2C5-CFDCDFD8A34D}" presName="desTx" presStyleLbl="revTx" presStyleIdx="2" presStyleCnt="4">
        <dgm:presLayoutVars/>
      </dgm:prSet>
      <dgm:spPr/>
    </dgm:pt>
    <dgm:pt modelId="{8E3A8FE5-A1CB-4541-AEEB-859D68595B87}" type="pres">
      <dgm:prSet presAssocID="{58072B0E-C331-4E0E-A88C-9056B760D70D}" presName="sibTrans" presStyleCnt="0"/>
      <dgm:spPr/>
    </dgm:pt>
    <dgm:pt modelId="{0568430D-A8C9-49B8-A5A6-A1606CE4A6CA}" type="pres">
      <dgm:prSet presAssocID="{4FF78D2A-8600-4686-9736-710035FD8040}" presName="compNode" presStyleCnt="0"/>
      <dgm:spPr/>
    </dgm:pt>
    <dgm:pt modelId="{53CBC0EF-7E62-4556-92F1-D2705C0981A5}" type="pres">
      <dgm:prSet presAssocID="{4FF78D2A-8600-4686-9736-710035FD8040}" presName="bgRect" presStyleLbl="bgShp" presStyleIdx="2" presStyleCnt="3"/>
      <dgm:spPr/>
    </dgm:pt>
    <dgm:pt modelId="{422F233A-D30F-4BFB-8F73-3EA1A466A016}" type="pres">
      <dgm:prSet presAssocID="{4FF78D2A-8600-4686-9736-710035FD8040}"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Skeleton"/>
        </a:ext>
      </dgm:extLst>
    </dgm:pt>
    <dgm:pt modelId="{095FD5F8-BC23-4993-9599-75DC832C346B}" type="pres">
      <dgm:prSet presAssocID="{4FF78D2A-8600-4686-9736-710035FD8040}" presName="spaceRect" presStyleCnt="0"/>
      <dgm:spPr/>
    </dgm:pt>
    <dgm:pt modelId="{2F698DD3-B944-4057-8AE6-6D7C38EEA000}" type="pres">
      <dgm:prSet presAssocID="{4FF78D2A-8600-4686-9736-710035FD8040}" presName="parTx" presStyleLbl="revTx" presStyleIdx="3" presStyleCnt="4">
        <dgm:presLayoutVars>
          <dgm:chMax val="0"/>
          <dgm:chPref val="0"/>
        </dgm:presLayoutVars>
      </dgm:prSet>
      <dgm:spPr/>
    </dgm:pt>
  </dgm:ptLst>
  <dgm:cxnLst>
    <dgm:cxn modelId="{6D68A518-BA86-4637-8C4F-B07F7B2EC898}" type="presOf" srcId="{DFC7F911-1992-4A8F-BB9A-1484A5B1F811}" destId="{2666F5E5-143F-4CE6-9EEA-47F453E26F08}" srcOrd="0" destOrd="0" presId="urn:microsoft.com/office/officeart/2018/2/layout/IconVerticalSolidList"/>
    <dgm:cxn modelId="{077F8D1D-5F98-4D25-9FD8-CA7752EEDC47}" type="presOf" srcId="{64112BA5-D90E-48FE-920C-B6E524E283FE}" destId="{0EA5ED5C-18EB-4AE4-8CD3-F8FDF9EE493C}" srcOrd="0" destOrd="0" presId="urn:microsoft.com/office/officeart/2018/2/layout/IconVerticalSolidList"/>
    <dgm:cxn modelId="{678E9628-0948-4E6E-B770-F961B09379D8}" type="presOf" srcId="{77656B0D-991E-4444-A2C5-CFDCDFD8A34D}" destId="{43774FDC-50EE-4C69-AD29-8F801130A40A}" srcOrd="0" destOrd="0" presId="urn:microsoft.com/office/officeart/2018/2/layout/IconVerticalSolidList"/>
    <dgm:cxn modelId="{F3E90845-16F2-4EBB-BEE8-F8E96F51B071}" srcId="{77656B0D-991E-4444-A2C5-CFDCDFD8A34D}" destId="{64112BA5-D90E-48FE-920C-B6E524E283FE}" srcOrd="0" destOrd="0" parTransId="{A8FD68B8-772C-439A-B73C-69BA15EE27FC}" sibTransId="{5AFC17A8-3520-4FFC-81AC-F6E43FD3E3E5}"/>
    <dgm:cxn modelId="{FEB3A753-974A-4665-B9F3-2B5A4EBFDBA0}" type="presOf" srcId="{CA2B3C89-BE26-4A51-A333-A2B3D64B9A92}" destId="{6C7CE52B-B1BA-46ED-BAC1-729D9E500C68}" srcOrd="0" destOrd="0" presId="urn:microsoft.com/office/officeart/2018/2/layout/IconVerticalSolidList"/>
    <dgm:cxn modelId="{71AE4F82-B2A7-4FE7-BF32-11A679BC80DB}" srcId="{DFC7F911-1992-4A8F-BB9A-1484A5B1F811}" destId="{CA2B3C89-BE26-4A51-A333-A2B3D64B9A92}" srcOrd="0" destOrd="0" parTransId="{C64B0E4F-8841-4DF4-B94E-81C3ECE5B953}" sibTransId="{053FA55A-9EC3-49B1-BEB2-0B1704ABD252}"/>
    <dgm:cxn modelId="{2814BE89-8A20-4C10-960A-F5FD1CA232BA}" type="presOf" srcId="{4FF78D2A-8600-4686-9736-710035FD8040}" destId="{2F698DD3-B944-4057-8AE6-6D7C38EEA000}" srcOrd="0" destOrd="0" presId="urn:microsoft.com/office/officeart/2018/2/layout/IconVerticalSolidList"/>
    <dgm:cxn modelId="{B223C0D1-6D4B-494F-8F2E-DE1E15A714FD}" srcId="{DFC7F911-1992-4A8F-BB9A-1484A5B1F811}" destId="{77656B0D-991E-4444-A2C5-CFDCDFD8A34D}" srcOrd="1" destOrd="0" parTransId="{F51E91CD-70E5-40BE-BE45-F8443E6D64BE}" sibTransId="{58072B0E-C331-4E0E-A88C-9056B760D70D}"/>
    <dgm:cxn modelId="{BE54C5D8-8552-48AA-92D9-7354DA010610}" srcId="{DFC7F911-1992-4A8F-BB9A-1484A5B1F811}" destId="{4FF78D2A-8600-4686-9736-710035FD8040}" srcOrd="2" destOrd="0" parTransId="{C0E1BB1B-2469-4FAB-88BA-53B792AFF3C9}" sibTransId="{E6966478-097A-46FB-9614-F4F3B1D3F357}"/>
    <dgm:cxn modelId="{92A0ADCD-29FE-4071-B65A-24A997D1FA74}" type="presParOf" srcId="{2666F5E5-143F-4CE6-9EEA-47F453E26F08}" destId="{D7469CB8-940C-4EA9-A2FB-708269A34693}" srcOrd="0" destOrd="0" presId="urn:microsoft.com/office/officeart/2018/2/layout/IconVerticalSolidList"/>
    <dgm:cxn modelId="{659A54B5-E670-4A8E-AF81-72F2986886C1}" type="presParOf" srcId="{D7469CB8-940C-4EA9-A2FB-708269A34693}" destId="{312B7ED2-9867-4642-BDE7-604B1C053C15}" srcOrd="0" destOrd="0" presId="urn:microsoft.com/office/officeart/2018/2/layout/IconVerticalSolidList"/>
    <dgm:cxn modelId="{F0B89AC1-D7F8-44B5-A853-D5C0D3896FC4}" type="presParOf" srcId="{D7469CB8-940C-4EA9-A2FB-708269A34693}" destId="{E4606710-1109-4520-889D-3C6F78EA936B}" srcOrd="1" destOrd="0" presId="urn:microsoft.com/office/officeart/2018/2/layout/IconVerticalSolidList"/>
    <dgm:cxn modelId="{B806AD42-A2ED-4F9F-ABDB-894A8C6F4AF8}" type="presParOf" srcId="{D7469CB8-940C-4EA9-A2FB-708269A34693}" destId="{FFE3AC9B-4C9D-4BDE-BE77-25A0612D92EA}" srcOrd="2" destOrd="0" presId="urn:microsoft.com/office/officeart/2018/2/layout/IconVerticalSolidList"/>
    <dgm:cxn modelId="{D00720BE-8E92-4A79-8BD8-F27175FACCC5}" type="presParOf" srcId="{D7469CB8-940C-4EA9-A2FB-708269A34693}" destId="{6C7CE52B-B1BA-46ED-BAC1-729D9E500C68}" srcOrd="3" destOrd="0" presId="urn:microsoft.com/office/officeart/2018/2/layout/IconVerticalSolidList"/>
    <dgm:cxn modelId="{F590EF42-1401-4E4C-AAE7-0C1AEB7B0393}" type="presParOf" srcId="{2666F5E5-143F-4CE6-9EEA-47F453E26F08}" destId="{2CE553EC-699B-448B-89B6-6F75383F7A62}" srcOrd="1" destOrd="0" presId="urn:microsoft.com/office/officeart/2018/2/layout/IconVerticalSolidList"/>
    <dgm:cxn modelId="{4CA96C86-5F87-484C-ADAC-70CE94349051}" type="presParOf" srcId="{2666F5E5-143F-4CE6-9EEA-47F453E26F08}" destId="{F9593723-5513-49BD-A450-099D22769871}" srcOrd="2" destOrd="0" presId="urn:microsoft.com/office/officeart/2018/2/layout/IconVerticalSolidList"/>
    <dgm:cxn modelId="{4D5D8E28-7F36-4537-8A72-D6CE2CE7FC78}" type="presParOf" srcId="{F9593723-5513-49BD-A450-099D22769871}" destId="{1CAF912A-E4D0-48F5-A9DF-87B696C52C82}" srcOrd="0" destOrd="0" presId="urn:microsoft.com/office/officeart/2018/2/layout/IconVerticalSolidList"/>
    <dgm:cxn modelId="{6DD07A4D-DB15-436C-8F84-469C7A2D5F1A}" type="presParOf" srcId="{F9593723-5513-49BD-A450-099D22769871}" destId="{CE86E841-D730-461A-9432-5088B8989E37}" srcOrd="1" destOrd="0" presId="urn:microsoft.com/office/officeart/2018/2/layout/IconVerticalSolidList"/>
    <dgm:cxn modelId="{09F8D1CA-891D-4551-B738-5F94C24D299E}" type="presParOf" srcId="{F9593723-5513-49BD-A450-099D22769871}" destId="{A73079AA-CEFA-4421-8122-2195DCA80449}" srcOrd="2" destOrd="0" presId="urn:microsoft.com/office/officeart/2018/2/layout/IconVerticalSolidList"/>
    <dgm:cxn modelId="{B3DF163C-9029-415F-8228-A742715162DF}" type="presParOf" srcId="{F9593723-5513-49BD-A450-099D22769871}" destId="{43774FDC-50EE-4C69-AD29-8F801130A40A}" srcOrd="3" destOrd="0" presId="urn:microsoft.com/office/officeart/2018/2/layout/IconVerticalSolidList"/>
    <dgm:cxn modelId="{2DD5577B-0811-4E0C-BED2-0FFA20073E70}" type="presParOf" srcId="{F9593723-5513-49BD-A450-099D22769871}" destId="{0EA5ED5C-18EB-4AE4-8CD3-F8FDF9EE493C}" srcOrd="4" destOrd="0" presId="urn:microsoft.com/office/officeart/2018/2/layout/IconVerticalSolidList"/>
    <dgm:cxn modelId="{A890C2A5-ED4F-47C2-820A-4B574F4510A7}" type="presParOf" srcId="{2666F5E5-143F-4CE6-9EEA-47F453E26F08}" destId="{8E3A8FE5-A1CB-4541-AEEB-859D68595B87}" srcOrd="3" destOrd="0" presId="urn:microsoft.com/office/officeart/2018/2/layout/IconVerticalSolidList"/>
    <dgm:cxn modelId="{A8E0C790-C2D2-4BBE-9D41-ABCD988D5725}" type="presParOf" srcId="{2666F5E5-143F-4CE6-9EEA-47F453E26F08}" destId="{0568430D-A8C9-49B8-A5A6-A1606CE4A6CA}" srcOrd="4" destOrd="0" presId="urn:microsoft.com/office/officeart/2018/2/layout/IconVerticalSolidList"/>
    <dgm:cxn modelId="{8AC7CBF9-383B-435D-B4F8-AE9699DA9067}" type="presParOf" srcId="{0568430D-A8C9-49B8-A5A6-A1606CE4A6CA}" destId="{53CBC0EF-7E62-4556-92F1-D2705C0981A5}" srcOrd="0" destOrd="0" presId="urn:microsoft.com/office/officeart/2018/2/layout/IconVerticalSolidList"/>
    <dgm:cxn modelId="{9A5816FE-AAF3-46A1-BFB9-E6E8245FAF7D}" type="presParOf" srcId="{0568430D-A8C9-49B8-A5A6-A1606CE4A6CA}" destId="{422F233A-D30F-4BFB-8F73-3EA1A466A016}" srcOrd="1" destOrd="0" presId="urn:microsoft.com/office/officeart/2018/2/layout/IconVerticalSolidList"/>
    <dgm:cxn modelId="{DB145CA6-3052-4821-8067-26AE46AED3D0}" type="presParOf" srcId="{0568430D-A8C9-49B8-A5A6-A1606CE4A6CA}" destId="{095FD5F8-BC23-4993-9599-75DC832C346B}" srcOrd="2" destOrd="0" presId="urn:microsoft.com/office/officeart/2018/2/layout/IconVerticalSolidList"/>
    <dgm:cxn modelId="{1F973616-1C30-45DB-8B2E-AAF46DABB8B4}" type="presParOf" srcId="{0568430D-A8C9-49B8-A5A6-A1606CE4A6CA}" destId="{2F698DD3-B944-4057-8AE6-6D7C38EEA000}"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667F84E-A555-4D1D-9647-0D5BAC945022}"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33CE33C2-1439-4852-B72B-15EDC16C257D}">
      <dgm:prSet custT="1"/>
      <dgm:spPr/>
      <dgm:t>
        <a:bodyPr/>
        <a:lstStyle/>
        <a:p>
          <a:r>
            <a:rPr lang="en-US" sz="2000" b="1" baseline="0" dirty="0"/>
            <a:t>Memory Brokers – </a:t>
          </a:r>
          <a:r>
            <a:rPr lang="en-US" sz="2000" baseline="0" dirty="0"/>
            <a:t>Distributes memory across different components based on demands</a:t>
          </a:r>
          <a:endParaRPr lang="en-US" sz="2000" dirty="0"/>
        </a:p>
      </dgm:t>
    </dgm:pt>
    <dgm:pt modelId="{9524AA49-766D-4CAB-AEEB-8153A62EC667}" type="parTrans" cxnId="{236AE4AF-D23F-4609-9A74-4506AF869D2B}">
      <dgm:prSet/>
      <dgm:spPr/>
      <dgm:t>
        <a:bodyPr/>
        <a:lstStyle/>
        <a:p>
          <a:endParaRPr lang="en-US"/>
        </a:p>
      </dgm:t>
    </dgm:pt>
    <dgm:pt modelId="{A09E1C57-B241-4C92-A0BD-78D1A0FE6A50}" type="sibTrans" cxnId="{236AE4AF-D23F-4609-9A74-4506AF869D2B}">
      <dgm:prSet/>
      <dgm:spPr/>
      <dgm:t>
        <a:bodyPr/>
        <a:lstStyle/>
        <a:p>
          <a:endParaRPr lang="en-US"/>
        </a:p>
      </dgm:t>
    </dgm:pt>
    <dgm:pt modelId="{A084B962-6359-462A-8B20-C388BACAE2D8}">
      <dgm:prSet custT="1"/>
      <dgm:spPr/>
      <dgm:t>
        <a:bodyPr/>
        <a:lstStyle/>
        <a:p>
          <a:r>
            <a:rPr lang="en-US" sz="2000" b="1" baseline="0"/>
            <a:t>Memory Clerks</a:t>
          </a:r>
          <a:r>
            <a:rPr lang="en-US" sz="2000" baseline="0"/>
            <a:t> – Component that accesses memory node interfaces for allocating memory</a:t>
          </a:r>
          <a:endParaRPr lang="en-US" sz="2000"/>
        </a:p>
      </dgm:t>
    </dgm:pt>
    <dgm:pt modelId="{35AB8468-84C5-447A-A4C1-CB4998B253BA}" type="parTrans" cxnId="{852DF207-CD2B-4E9B-9E59-1D448DC9A64B}">
      <dgm:prSet/>
      <dgm:spPr/>
      <dgm:t>
        <a:bodyPr/>
        <a:lstStyle/>
        <a:p>
          <a:endParaRPr lang="en-US"/>
        </a:p>
      </dgm:t>
    </dgm:pt>
    <dgm:pt modelId="{794F5FA6-9017-4382-A591-EABE41685A56}" type="sibTrans" cxnId="{852DF207-CD2B-4E9B-9E59-1D448DC9A64B}">
      <dgm:prSet/>
      <dgm:spPr/>
      <dgm:t>
        <a:bodyPr/>
        <a:lstStyle/>
        <a:p>
          <a:endParaRPr lang="en-US"/>
        </a:p>
      </dgm:t>
    </dgm:pt>
    <dgm:pt modelId="{1315B62E-8FB2-4DC6-A28B-65A334CB50F5}">
      <dgm:prSet custT="1"/>
      <dgm:spPr/>
      <dgm:t>
        <a:bodyPr/>
        <a:lstStyle/>
        <a:p>
          <a:r>
            <a:rPr lang="en-US" sz="2000" b="1" baseline="0" dirty="0"/>
            <a:t>Memory Nodes (NUMA)</a:t>
          </a:r>
          <a:r>
            <a:rPr lang="en-US" sz="2000" baseline="0" dirty="0"/>
            <a:t> – Memory that represents how memory is consumed across NUMA nodes</a:t>
          </a:r>
          <a:endParaRPr lang="en-US" sz="2000" dirty="0"/>
        </a:p>
      </dgm:t>
    </dgm:pt>
    <dgm:pt modelId="{1A8543D2-6B29-4F55-96D7-C098BCAD8354}" type="parTrans" cxnId="{4993C207-E2CE-4AD8-B6BA-6E4B433FB458}">
      <dgm:prSet/>
      <dgm:spPr/>
      <dgm:t>
        <a:bodyPr/>
        <a:lstStyle/>
        <a:p>
          <a:endParaRPr lang="en-US"/>
        </a:p>
      </dgm:t>
    </dgm:pt>
    <dgm:pt modelId="{BF36D2D1-ED47-47E5-87D0-333263B62FFD}" type="sibTrans" cxnId="{4993C207-E2CE-4AD8-B6BA-6E4B433FB458}">
      <dgm:prSet/>
      <dgm:spPr/>
      <dgm:t>
        <a:bodyPr/>
        <a:lstStyle/>
        <a:p>
          <a:endParaRPr lang="en-US"/>
        </a:p>
      </dgm:t>
    </dgm:pt>
    <dgm:pt modelId="{7B25FF4E-987F-4642-A97E-2E81630C884E}">
      <dgm:prSet custT="1"/>
      <dgm:spPr/>
      <dgm:t>
        <a:bodyPr/>
        <a:lstStyle/>
        <a:p>
          <a:r>
            <a:rPr lang="en-US" sz="2000" b="1" baseline="0" dirty="0"/>
            <a:t>Memory Pools (Resource Governor)</a:t>
          </a:r>
          <a:r>
            <a:rPr lang="en-US" sz="2000" baseline="0" dirty="0"/>
            <a:t> – Memory that represents how memory is organized by Resource Governor pool / workload group (internal for background and default for user)</a:t>
          </a:r>
          <a:endParaRPr lang="en-US" sz="2000" dirty="0"/>
        </a:p>
      </dgm:t>
    </dgm:pt>
    <dgm:pt modelId="{2AFF3F9D-AA52-4926-80FE-AED029141BF6}" type="parTrans" cxnId="{E1CD11B4-DF4F-4A9D-98C9-985ED3EFC5C7}">
      <dgm:prSet/>
      <dgm:spPr/>
      <dgm:t>
        <a:bodyPr/>
        <a:lstStyle/>
        <a:p>
          <a:endParaRPr lang="en-US"/>
        </a:p>
      </dgm:t>
    </dgm:pt>
    <dgm:pt modelId="{70A36FEE-62C0-4520-8013-5D1998F37056}" type="sibTrans" cxnId="{E1CD11B4-DF4F-4A9D-98C9-985ED3EFC5C7}">
      <dgm:prSet/>
      <dgm:spPr/>
      <dgm:t>
        <a:bodyPr/>
        <a:lstStyle/>
        <a:p>
          <a:endParaRPr lang="en-US"/>
        </a:p>
      </dgm:t>
    </dgm:pt>
    <dgm:pt modelId="{012A0F89-490E-4372-A146-3A20050FAF72}" type="pres">
      <dgm:prSet presAssocID="{4667F84E-A555-4D1D-9647-0D5BAC945022}" presName="linear" presStyleCnt="0">
        <dgm:presLayoutVars>
          <dgm:animLvl val="lvl"/>
          <dgm:resizeHandles val="exact"/>
        </dgm:presLayoutVars>
      </dgm:prSet>
      <dgm:spPr/>
    </dgm:pt>
    <dgm:pt modelId="{50C8588C-6A22-4D6D-B418-2E68FC92F473}" type="pres">
      <dgm:prSet presAssocID="{33CE33C2-1439-4852-B72B-15EDC16C257D}" presName="parentText" presStyleLbl="node1" presStyleIdx="0" presStyleCnt="4">
        <dgm:presLayoutVars>
          <dgm:chMax val="0"/>
          <dgm:bulletEnabled val="1"/>
        </dgm:presLayoutVars>
      </dgm:prSet>
      <dgm:spPr/>
    </dgm:pt>
    <dgm:pt modelId="{D5A54E43-0711-48BA-87C2-B638C45FBDAF}" type="pres">
      <dgm:prSet presAssocID="{A09E1C57-B241-4C92-A0BD-78D1A0FE6A50}" presName="spacer" presStyleCnt="0"/>
      <dgm:spPr/>
    </dgm:pt>
    <dgm:pt modelId="{0FF8E1ED-B577-469D-87E1-4C947C86B08A}" type="pres">
      <dgm:prSet presAssocID="{A084B962-6359-462A-8B20-C388BACAE2D8}" presName="parentText" presStyleLbl="node1" presStyleIdx="1" presStyleCnt="4">
        <dgm:presLayoutVars>
          <dgm:chMax val="0"/>
          <dgm:bulletEnabled val="1"/>
        </dgm:presLayoutVars>
      </dgm:prSet>
      <dgm:spPr/>
    </dgm:pt>
    <dgm:pt modelId="{2E5364E3-62EE-4ED1-8BDB-4AA055F99ECA}" type="pres">
      <dgm:prSet presAssocID="{794F5FA6-9017-4382-A591-EABE41685A56}" presName="spacer" presStyleCnt="0"/>
      <dgm:spPr/>
    </dgm:pt>
    <dgm:pt modelId="{B5EFD093-D85F-4A5E-BCA1-EB681C33D2E2}" type="pres">
      <dgm:prSet presAssocID="{1315B62E-8FB2-4DC6-A28B-65A334CB50F5}" presName="parentText" presStyleLbl="node1" presStyleIdx="2" presStyleCnt="4">
        <dgm:presLayoutVars>
          <dgm:chMax val="0"/>
          <dgm:bulletEnabled val="1"/>
        </dgm:presLayoutVars>
      </dgm:prSet>
      <dgm:spPr/>
    </dgm:pt>
    <dgm:pt modelId="{69327797-55C1-4163-811B-35844EB59404}" type="pres">
      <dgm:prSet presAssocID="{BF36D2D1-ED47-47E5-87D0-333263B62FFD}" presName="spacer" presStyleCnt="0"/>
      <dgm:spPr/>
    </dgm:pt>
    <dgm:pt modelId="{77970BD6-EC0B-4C6A-BB93-32048BB7C6E0}" type="pres">
      <dgm:prSet presAssocID="{7B25FF4E-987F-4642-A97E-2E81630C884E}" presName="parentText" presStyleLbl="node1" presStyleIdx="3" presStyleCnt="4">
        <dgm:presLayoutVars>
          <dgm:chMax val="0"/>
          <dgm:bulletEnabled val="1"/>
        </dgm:presLayoutVars>
      </dgm:prSet>
      <dgm:spPr/>
    </dgm:pt>
  </dgm:ptLst>
  <dgm:cxnLst>
    <dgm:cxn modelId="{4993C207-E2CE-4AD8-B6BA-6E4B433FB458}" srcId="{4667F84E-A555-4D1D-9647-0D5BAC945022}" destId="{1315B62E-8FB2-4DC6-A28B-65A334CB50F5}" srcOrd="2" destOrd="0" parTransId="{1A8543D2-6B29-4F55-96D7-C098BCAD8354}" sibTransId="{BF36D2D1-ED47-47E5-87D0-333263B62FFD}"/>
    <dgm:cxn modelId="{852DF207-CD2B-4E9B-9E59-1D448DC9A64B}" srcId="{4667F84E-A555-4D1D-9647-0D5BAC945022}" destId="{A084B962-6359-462A-8B20-C388BACAE2D8}" srcOrd="1" destOrd="0" parTransId="{35AB8468-84C5-447A-A4C1-CB4998B253BA}" sibTransId="{794F5FA6-9017-4382-A591-EABE41685A56}"/>
    <dgm:cxn modelId="{19951C30-8930-41E5-8BF0-04410F112180}" type="presOf" srcId="{7B25FF4E-987F-4642-A97E-2E81630C884E}" destId="{77970BD6-EC0B-4C6A-BB93-32048BB7C6E0}" srcOrd="0" destOrd="0" presId="urn:microsoft.com/office/officeart/2005/8/layout/vList2"/>
    <dgm:cxn modelId="{190A5C5C-D200-4E31-B758-8F550E781CEE}" type="presOf" srcId="{A084B962-6359-462A-8B20-C388BACAE2D8}" destId="{0FF8E1ED-B577-469D-87E1-4C947C86B08A}" srcOrd="0" destOrd="0" presId="urn:microsoft.com/office/officeart/2005/8/layout/vList2"/>
    <dgm:cxn modelId="{FE9CA348-AF4A-48C1-9365-0B5BCD5CA386}" type="presOf" srcId="{1315B62E-8FB2-4DC6-A28B-65A334CB50F5}" destId="{B5EFD093-D85F-4A5E-BCA1-EB681C33D2E2}" srcOrd="0" destOrd="0" presId="urn:microsoft.com/office/officeart/2005/8/layout/vList2"/>
    <dgm:cxn modelId="{BE9E4D7D-8725-4FC7-B309-BE4A01C1C608}" type="presOf" srcId="{4667F84E-A555-4D1D-9647-0D5BAC945022}" destId="{012A0F89-490E-4372-A146-3A20050FAF72}" srcOrd="0" destOrd="0" presId="urn:microsoft.com/office/officeart/2005/8/layout/vList2"/>
    <dgm:cxn modelId="{517D67A5-819A-4F3A-9243-866F87A3C235}" type="presOf" srcId="{33CE33C2-1439-4852-B72B-15EDC16C257D}" destId="{50C8588C-6A22-4D6D-B418-2E68FC92F473}" srcOrd="0" destOrd="0" presId="urn:microsoft.com/office/officeart/2005/8/layout/vList2"/>
    <dgm:cxn modelId="{236AE4AF-D23F-4609-9A74-4506AF869D2B}" srcId="{4667F84E-A555-4D1D-9647-0D5BAC945022}" destId="{33CE33C2-1439-4852-B72B-15EDC16C257D}" srcOrd="0" destOrd="0" parTransId="{9524AA49-766D-4CAB-AEEB-8153A62EC667}" sibTransId="{A09E1C57-B241-4C92-A0BD-78D1A0FE6A50}"/>
    <dgm:cxn modelId="{E1CD11B4-DF4F-4A9D-98C9-985ED3EFC5C7}" srcId="{4667F84E-A555-4D1D-9647-0D5BAC945022}" destId="{7B25FF4E-987F-4642-A97E-2E81630C884E}" srcOrd="3" destOrd="0" parTransId="{2AFF3F9D-AA52-4926-80FE-AED029141BF6}" sibTransId="{70A36FEE-62C0-4520-8013-5D1998F37056}"/>
    <dgm:cxn modelId="{2036CDCD-7DF6-498C-896C-EF6F739982BC}" type="presParOf" srcId="{012A0F89-490E-4372-A146-3A20050FAF72}" destId="{50C8588C-6A22-4D6D-B418-2E68FC92F473}" srcOrd="0" destOrd="0" presId="urn:microsoft.com/office/officeart/2005/8/layout/vList2"/>
    <dgm:cxn modelId="{CCEAADB2-598D-49FF-ADC7-6DCF338E5A60}" type="presParOf" srcId="{012A0F89-490E-4372-A146-3A20050FAF72}" destId="{D5A54E43-0711-48BA-87C2-B638C45FBDAF}" srcOrd="1" destOrd="0" presId="urn:microsoft.com/office/officeart/2005/8/layout/vList2"/>
    <dgm:cxn modelId="{DA359200-F6D6-4D8C-AEA5-A2122B1835EF}" type="presParOf" srcId="{012A0F89-490E-4372-A146-3A20050FAF72}" destId="{0FF8E1ED-B577-469D-87E1-4C947C86B08A}" srcOrd="2" destOrd="0" presId="urn:microsoft.com/office/officeart/2005/8/layout/vList2"/>
    <dgm:cxn modelId="{F99DE9C4-4606-4273-8CF0-CF46E3DC864C}" type="presParOf" srcId="{012A0F89-490E-4372-A146-3A20050FAF72}" destId="{2E5364E3-62EE-4ED1-8BDB-4AA055F99ECA}" srcOrd="3" destOrd="0" presId="urn:microsoft.com/office/officeart/2005/8/layout/vList2"/>
    <dgm:cxn modelId="{43CA7C7B-E899-458F-9248-B63BB8B91AC5}" type="presParOf" srcId="{012A0F89-490E-4372-A146-3A20050FAF72}" destId="{B5EFD093-D85F-4A5E-BCA1-EB681C33D2E2}" srcOrd="4" destOrd="0" presId="urn:microsoft.com/office/officeart/2005/8/layout/vList2"/>
    <dgm:cxn modelId="{05FCB6DF-BC8E-44ED-A5E3-6E317C95A97A}" type="presParOf" srcId="{012A0F89-490E-4372-A146-3A20050FAF72}" destId="{69327797-55C1-4163-811B-35844EB59404}" srcOrd="5" destOrd="0" presId="urn:microsoft.com/office/officeart/2005/8/layout/vList2"/>
    <dgm:cxn modelId="{0C2D9366-7EE0-43B7-AE22-EDE5DF127CFF}" type="presParOf" srcId="{012A0F89-490E-4372-A146-3A20050FAF72}" destId="{77970BD6-EC0B-4C6A-BB93-32048BB7C6E0}"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2B9FF7D-EA81-4290-A562-8522DFF22ED1}"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9008142E-D526-48A1-8F9F-18B575638140}">
      <dgm:prSet custT="1"/>
      <dgm:spPr/>
      <dgm:t>
        <a:bodyPr/>
        <a:lstStyle/>
        <a:p>
          <a:r>
            <a:rPr lang="en-US" sz="2000" dirty="0"/>
            <a:t>Max Server Memory defines the maximum amount of memory the SQL Server process can allocate.</a:t>
          </a:r>
        </a:p>
      </dgm:t>
    </dgm:pt>
    <dgm:pt modelId="{CBEFD1E8-1B4B-4DC3-8259-8A0181D6B411}" type="parTrans" cxnId="{59D14943-7C6D-42E2-A535-F6C47528DBEA}">
      <dgm:prSet/>
      <dgm:spPr/>
      <dgm:t>
        <a:bodyPr/>
        <a:lstStyle/>
        <a:p>
          <a:endParaRPr lang="en-US"/>
        </a:p>
      </dgm:t>
    </dgm:pt>
    <dgm:pt modelId="{E0B94F68-698D-494B-9E4E-0A6A4E11F7D2}" type="sibTrans" cxnId="{59D14943-7C6D-42E2-A535-F6C47528DBEA}">
      <dgm:prSet/>
      <dgm:spPr/>
      <dgm:t>
        <a:bodyPr/>
        <a:lstStyle/>
        <a:p>
          <a:endParaRPr lang="en-US"/>
        </a:p>
      </dgm:t>
    </dgm:pt>
    <dgm:pt modelId="{34610E3D-EF86-4761-9B68-4B5749A9FEDC}">
      <dgm:prSet custT="1"/>
      <dgm:spPr/>
      <dgm:t>
        <a:bodyPr/>
        <a:lstStyle/>
        <a:p>
          <a:r>
            <a:rPr lang="en-US" sz="2000" dirty="0"/>
            <a:t>Min Server Memory defines the level down to which SQL Server may trim in the event of memory pressure.</a:t>
          </a:r>
        </a:p>
      </dgm:t>
    </dgm:pt>
    <dgm:pt modelId="{8B0F6976-D88C-4193-B184-4F2D28A34C37}" type="parTrans" cxnId="{745B7F76-5600-42E4-9EC9-CB6ECE4C9C47}">
      <dgm:prSet/>
      <dgm:spPr/>
      <dgm:t>
        <a:bodyPr/>
        <a:lstStyle/>
        <a:p>
          <a:endParaRPr lang="en-US"/>
        </a:p>
      </dgm:t>
    </dgm:pt>
    <dgm:pt modelId="{E44A44E1-F2DD-46C3-BF7F-800F99390269}" type="sibTrans" cxnId="{745B7F76-5600-42E4-9EC9-CB6ECE4C9C47}">
      <dgm:prSet/>
      <dgm:spPr/>
      <dgm:t>
        <a:bodyPr/>
        <a:lstStyle/>
        <a:p>
          <a:endParaRPr lang="en-US"/>
        </a:p>
      </dgm:t>
    </dgm:pt>
    <dgm:pt modelId="{3C6750B7-A825-44BE-B0D0-1CEFB7FFED25}">
      <dgm:prSet custT="1"/>
      <dgm:spPr/>
      <dgm:t>
        <a:bodyPr/>
        <a:lstStyle/>
        <a:p>
          <a:r>
            <a:rPr lang="en-US" sz="2000" dirty="0"/>
            <a:t>Memory is allocated as-needed after the SQL Server service startup.</a:t>
          </a:r>
        </a:p>
      </dgm:t>
    </dgm:pt>
    <dgm:pt modelId="{DFCEC972-7CA3-4BDC-A9FB-FC0EAFCD4DC2}" type="parTrans" cxnId="{F8B00D9E-66EA-43ED-95CB-1C27C1D82710}">
      <dgm:prSet/>
      <dgm:spPr/>
      <dgm:t>
        <a:bodyPr/>
        <a:lstStyle/>
        <a:p>
          <a:endParaRPr lang="en-US"/>
        </a:p>
      </dgm:t>
    </dgm:pt>
    <dgm:pt modelId="{37DDBB9F-CD75-4033-BB12-D386B041021B}" type="sibTrans" cxnId="{F8B00D9E-66EA-43ED-95CB-1C27C1D82710}">
      <dgm:prSet/>
      <dgm:spPr/>
      <dgm:t>
        <a:bodyPr/>
        <a:lstStyle/>
        <a:p>
          <a:endParaRPr lang="en-US"/>
        </a:p>
      </dgm:t>
    </dgm:pt>
    <dgm:pt modelId="{BC21D158-CD7F-4818-9A06-096C16253090}">
      <dgm:prSet custT="1"/>
      <dgm:spPr/>
      <dgm:t>
        <a:bodyPr/>
        <a:lstStyle/>
        <a:p>
          <a:r>
            <a:rPr lang="en-US" sz="2000" dirty="0"/>
            <a:t>After memory is acquired, it will not be released unless the operating system reports memory pressure.</a:t>
          </a:r>
        </a:p>
      </dgm:t>
    </dgm:pt>
    <dgm:pt modelId="{08CE1653-00C5-4C5C-B246-54D85C7B3B8B}" type="parTrans" cxnId="{769C6F37-7CAF-4105-9B80-4EB82F336284}">
      <dgm:prSet/>
      <dgm:spPr/>
      <dgm:t>
        <a:bodyPr/>
        <a:lstStyle/>
        <a:p>
          <a:endParaRPr lang="en-US"/>
        </a:p>
      </dgm:t>
    </dgm:pt>
    <dgm:pt modelId="{D9412F87-D3F8-4C5A-B89D-BF31105E825E}" type="sibTrans" cxnId="{769C6F37-7CAF-4105-9B80-4EB82F336284}">
      <dgm:prSet/>
      <dgm:spPr/>
      <dgm:t>
        <a:bodyPr/>
        <a:lstStyle/>
        <a:p>
          <a:endParaRPr lang="en-US"/>
        </a:p>
      </dgm:t>
    </dgm:pt>
    <dgm:pt modelId="{423BE506-5D2F-434D-8BFC-78AA569DEFD2}">
      <dgm:prSet custT="1"/>
      <dgm:spPr/>
      <dgm:t>
        <a:bodyPr/>
        <a:lstStyle/>
        <a:p>
          <a:r>
            <a:rPr lang="en-US" sz="2000" dirty="0"/>
            <a:t>In the event of pressure, SQL Server will reduce its memory footprint to avoid operating system paging.</a:t>
          </a:r>
        </a:p>
      </dgm:t>
    </dgm:pt>
    <dgm:pt modelId="{205CCA4D-1409-4C6D-926E-48EA5CE22D6B}" type="parTrans" cxnId="{D418A782-E066-42D0-91AC-D81B23373AD4}">
      <dgm:prSet/>
      <dgm:spPr/>
      <dgm:t>
        <a:bodyPr/>
        <a:lstStyle/>
        <a:p>
          <a:endParaRPr lang="en-US"/>
        </a:p>
      </dgm:t>
    </dgm:pt>
    <dgm:pt modelId="{FDD4DE33-845C-4F6D-B3CA-6959C3F9EEB1}" type="sibTrans" cxnId="{D418A782-E066-42D0-91AC-D81B23373AD4}">
      <dgm:prSet/>
      <dgm:spPr/>
      <dgm:t>
        <a:bodyPr/>
        <a:lstStyle/>
        <a:p>
          <a:endParaRPr lang="en-US"/>
        </a:p>
      </dgm:t>
    </dgm:pt>
    <dgm:pt modelId="{0435D781-DCC4-4274-9F44-75D8AF4A427E}" type="pres">
      <dgm:prSet presAssocID="{52B9FF7D-EA81-4290-A562-8522DFF22ED1}" presName="linear" presStyleCnt="0">
        <dgm:presLayoutVars>
          <dgm:animLvl val="lvl"/>
          <dgm:resizeHandles val="exact"/>
        </dgm:presLayoutVars>
      </dgm:prSet>
      <dgm:spPr/>
    </dgm:pt>
    <dgm:pt modelId="{BAF5DDD0-5D7B-4D4B-BB74-2B96F76BF5F1}" type="pres">
      <dgm:prSet presAssocID="{9008142E-D526-48A1-8F9F-18B575638140}" presName="parentText" presStyleLbl="node1" presStyleIdx="0" presStyleCnt="5">
        <dgm:presLayoutVars>
          <dgm:chMax val="0"/>
          <dgm:bulletEnabled val="1"/>
        </dgm:presLayoutVars>
      </dgm:prSet>
      <dgm:spPr/>
    </dgm:pt>
    <dgm:pt modelId="{8BFF4E71-5EFA-488D-8DCB-284733A2A0CA}" type="pres">
      <dgm:prSet presAssocID="{E0B94F68-698D-494B-9E4E-0A6A4E11F7D2}" presName="spacer" presStyleCnt="0"/>
      <dgm:spPr/>
    </dgm:pt>
    <dgm:pt modelId="{3CB7EDBC-18B4-43A0-A3CA-94D3916E92A4}" type="pres">
      <dgm:prSet presAssocID="{34610E3D-EF86-4761-9B68-4B5749A9FEDC}" presName="parentText" presStyleLbl="node1" presStyleIdx="1" presStyleCnt="5">
        <dgm:presLayoutVars>
          <dgm:chMax val="0"/>
          <dgm:bulletEnabled val="1"/>
        </dgm:presLayoutVars>
      </dgm:prSet>
      <dgm:spPr/>
    </dgm:pt>
    <dgm:pt modelId="{6EEBACAF-F463-4393-9413-01928A5C3DCF}" type="pres">
      <dgm:prSet presAssocID="{E44A44E1-F2DD-46C3-BF7F-800F99390269}" presName="spacer" presStyleCnt="0"/>
      <dgm:spPr/>
    </dgm:pt>
    <dgm:pt modelId="{9799D988-3AED-47CB-9F9E-21C225D2D4E8}" type="pres">
      <dgm:prSet presAssocID="{3C6750B7-A825-44BE-B0D0-1CEFB7FFED25}" presName="parentText" presStyleLbl="node1" presStyleIdx="2" presStyleCnt="5">
        <dgm:presLayoutVars>
          <dgm:chMax val="0"/>
          <dgm:bulletEnabled val="1"/>
        </dgm:presLayoutVars>
      </dgm:prSet>
      <dgm:spPr/>
    </dgm:pt>
    <dgm:pt modelId="{D67B1EEF-E133-4911-8C68-98E41404624D}" type="pres">
      <dgm:prSet presAssocID="{37DDBB9F-CD75-4033-BB12-D386B041021B}" presName="spacer" presStyleCnt="0"/>
      <dgm:spPr/>
    </dgm:pt>
    <dgm:pt modelId="{BAA52ED6-F619-4148-AE53-94BC7535C450}" type="pres">
      <dgm:prSet presAssocID="{BC21D158-CD7F-4818-9A06-096C16253090}" presName="parentText" presStyleLbl="node1" presStyleIdx="3" presStyleCnt="5">
        <dgm:presLayoutVars>
          <dgm:chMax val="0"/>
          <dgm:bulletEnabled val="1"/>
        </dgm:presLayoutVars>
      </dgm:prSet>
      <dgm:spPr/>
    </dgm:pt>
    <dgm:pt modelId="{CA8543CF-81A8-40B9-9F41-FF564FBF9BC5}" type="pres">
      <dgm:prSet presAssocID="{D9412F87-D3F8-4C5A-B89D-BF31105E825E}" presName="spacer" presStyleCnt="0"/>
      <dgm:spPr/>
    </dgm:pt>
    <dgm:pt modelId="{040094CC-D596-4698-A375-8DA3DB6B00AD}" type="pres">
      <dgm:prSet presAssocID="{423BE506-5D2F-434D-8BFC-78AA569DEFD2}" presName="parentText" presStyleLbl="node1" presStyleIdx="4" presStyleCnt="5">
        <dgm:presLayoutVars>
          <dgm:chMax val="0"/>
          <dgm:bulletEnabled val="1"/>
        </dgm:presLayoutVars>
      </dgm:prSet>
      <dgm:spPr/>
    </dgm:pt>
  </dgm:ptLst>
  <dgm:cxnLst>
    <dgm:cxn modelId="{E96F3C21-7BAC-43B8-A779-F37DF6C38923}" type="presOf" srcId="{3C6750B7-A825-44BE-B0D0-1CEFB7FFED25}" destId="{9799D988-3AED-47CB-9F9E-21C225D2D4E8}" srcOrd="0" destOrd="0" presId="urn:microsoft.com/office/officeart/2005/8/layout/vList2"/>
    <dgm:cxn modelId="{EA03B924-F6E9-4A7B-9474-91C6F894FC01}" type="presOf" srcId="{423BE506-5D2F-434D-8BFC-78AA569DEFD2}" destId="{040094CC-D596-4698-A375-8DA3DB6B00AD}" srcOrd="0" destOrd="0" presId="urn:microsoft.com/office/officeart/2005/8/layout/vList2"/>
    <dgm:cxn modelId="{769C6F37-7CAF-4105-9B80-4EB82F336284}" srcId="{52B9FF7D-EA81-4290-A562-8522DFF22ED1}" destId="{BC21D158-CD7F-4818-9A06-096C16253090}" srcOrd="3" destOrd="0" parTransId="{08CE1653-00C5-4C5C-B246-54D85C7B3B8B}" sibTransId="{D9412F87-D3F8-4C5A-B89D-BF31105E825E}"/>
    <dgm:cxn modelId="{59D14943-7C6D-42E2-A535-F6C47528DBEA}" srcId="{52B9FF7D-EA81-4290-A562-8522DFF22ED1}" destId="{9008142E-D526-48A1-8F9F-18B575638140}" srcOrd="0" destOrd="0" parTransId="{CBEFD1E8-1B4B-4DC3-8259-8A0181D6B411}" sibTransId="{E0B94F68-698D-494B-9E4E-0A6A4E11F7D2}"/>
    <dgm:cxn modelId="{CF633664-0DAC-45B4-BF85-5EBCB7600A58}" type="presOf" srcId="{52B9FF7D-EA81-4290-A562-8522DFF22ED1}" destId="{0435D781-DCC4-4274-9F44-75D8AF4A427E}" srcOrd="0" destOrd="0" presId="urn:microsoft.com/office/officeart/2005/8/layout/vList2"/>
    <dgm:cxn modelId="{745B7F76-5600-42E4-9EC9-CB6ECE4C9C47}" srcId="{52B9FF7D-EA81-4290-A562-8522DFF22ED1}" destId="{34610E3D-EF86-4761-9B68-4B5749A9FEDC}" srcOrd="1" destOrd="0" parTransId="{8B0F6976-D88C-4193-B184-4F2D28A34C37}" sibTransId="{E44A44E1-F2DD-46C3-BF7F-800F99390269}"/>
    <dgm:cxn modelId="{D418A782-E066-42D0-91AC-D81B23373AD4}" srcId="{52B9FF7D-EA81-4290-A562-8522DFF22ED1}" destId="{423BE506-5D2F-434D-8BFC-78AA569DEFD2}" srcOrd="4" destOrd="0" parTransId="{205CCA4D-1409-4C6D-926E-48EA5CE22D6B}" sibTransId="{FDD4DE33-845C-4F6D-B3CA-6959C3F9EEB1}"/>
    <dgm:cxn modelId="{6FBCDB9C-7EE7-42CC-A463-7BBC0A59019B}" type="presOf" srcId="{BC21D158-CD7F-4818-9A06-096C16253090}" destId="{BAA52ED6-F619-4148-AE53-94BC7535C450}" srcOrd="0" destOrd="0" presId="urn:microsoft.com/office/officeart/2005/8/layout/vList2"/>
    <dgm:cxn modelId="{F8B00D9E-66EA-43ED-95CB-1C27C1D82710}" srcId="{52B9FF7D-EA81-4290-A562-8522DFF22ED1}" destId="{3C6750B7-A825-44BE-B0D0-1CEFB7FFED25}" srcOrd="2" destOrd="0" parTransId="{DFCEC972-7CA3-4BDC-A9FB-FC0EAFCD4DC2}" sibTransId="{37DDBB9F-CD75-4033-BB12-D386B041021B}"/>
    <dgm:cxn modelId="{AF1F70D8-C76A-4D8F-8C0B-26C08BBAF7A5}" type="presOf" srcId="{9008142E-D526-48A1-8F9F-18B575638140}" destId="{BAF5DDD0-5D7B-4D4B-BB74-2B96F76BF5F1}" srcOrd="0" destOrd="0" presId="urn:microsoft.com/office/officeart/2005/8/layout/vList2"/>
    <dgm:cxn modelId="{2C4046DA-B8CD-4ABF-A8CA-B12668ADABF4}" type="presOf" srcId="{34610E3D-EF86-4761-9B68-4B5749A9FEDC}" destId="{3CB7EDBC-18B4-43A0-A3CA-94D3916E92A4}" srcOrd="0" destOrd="0" presId="urn:microsoft.com/office/officeart/2005/8/layout/vList2"/>
    <dgm:cxn modelId="{C0C9662C-112C-478D-BFDF-312A0375A159}" type="presParOf" srcId="{0435D781-DCC4-4274-9F44-75D8AF4A427E}" destId="{BAF5DDD0-5D7B-4D4B-BB74-2B96F76BF5F1}" srcOrd="0" destOrd="0" presId="urn:microsoft.com/office/officeart/2005/8/layout/vList2"/>
    <dgm:cxn modelId="{F371481E-974B-44F6-8AAE-45D787091313}" type="presParOf" srcId="{0435D781-DCC4-4274-9F44-75D8AF4A427E}" destId="{8BFF4E71-5EFA-488D-8DCB-284733A2A0CA}" srcOrd="1" destOrd="0" presId="urn:microsoft.com/office/officeart/2005/8/layout/vList2"/>
    <dgm:cxn modelId="{BA9D6EDF-8891-44A4-8F15-86CA0A99E640}" type="presParOf" srcId="{0435D781-DCC4-4274-9F44-75D8AF4A427E}" destId="{3CB7EDBC-18B4-43A0-A3CA-94D3916E92A4}" srcOrd="2" destOrd="0" presId="urn:microsoft.com/office/officeart/2005/8/layout/vList2"/>
    <dgm:cxn modelId="{7AB9C833-1B98-4ACF-963D-C471D561F34B}" type="presParOf" srcId="{0435D781-DCC4-4274-9F44-75D8AF4A427E}" destId="{6EEBACAF-F463-4393-9413-01928A5C3DCF}" srcOrd="3" destOrd="0" presId="urn:microsoft.com/office/officeart/2005/8/layout/vList2"/>
    <dgm:cxn modelId="{FB8757A6-42F8-48C0-84C1-8E4C3BD89101}" type="presParOf" srcId="{0435D781-DCC4-4274-9F44-75D8AF4A427E}" destId="{9799D988-3AED-47CB-9F9E-21C225D2D4E8}" srcOrd="4" destOrd="0" presId="urn:microsoft.com/office/officeart/2005/8/layout/vList2"/>
    <dgm:cxn modelId="{8F05E497-D7C2-4537-A71C-5EFB3B0E28C8}" type="presParOf" srcId="{0435D781-DCC4-4274-9F44-75D8AF4A427E}" destId="{D67B1EEF-E133-4911-8C68-98E41404624D}" srcOrd="5" destOrd="0" presId="urn:microsoft.com/office/officeart/2005/8/layout/vList2"/>
    <dgm:cxn modelId="{B77618BC-1954-407D-8DD3-79E6429EAAF1}" type="presParOf" srcId="{0435D781-DCC4-4274-9F44-75D8AF4A427E}" destId="{BAA52ED6-F619-4148-AE53-94BC7535C450}" srcOrd="6" destOrd="0" presId="urn:microsoft.com/office/officeart/2005/8/layout/vList2"/>
    <dgm:cxn modelId="{41CC6E3E-F7A2-4E87-90AC-EC80924129BB}" type="presParOf" srcId="{0435D781-DCC4-4274-9F44-75D8AF4A427E}" destId="{CA8543CF-81A8-40B9-9F41-FF564FBF9BC5}" srcOrd="7" destOrd="0" presId="urn:microsoft.com/office/officeart/2005/8/layout/vList2"/>
    <dgm:cxn modelId="{0A41A0BC-8F12-4674-8C13-29FF683E13B3}" type="presParOf" srcId="{0435D781-DCC4-4274-9F44-75D8AF4A427E}" destId="{040094CC-D596-4698-A375-8DA3DB6B00AD}" srcOrd="8"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D63552-03A9-4B58-92DC-A92FAE514C1F}">
      <dsp:nvSpPr>
        <dsp:cNvPr id="0" name=""/>
        <dsp:cNvSpPr/>
      </dsp:nvSpPr>
      <dsp:spPr>
        <a:xfrm rot="5400000">
          <a:off x="6934813" y="-2899320"/>
          <a:ext cx="928159" cy="6963664"/>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baseline="0" dirty="0">
              <a:latin typeface="+mn-lt"/>
            </a:rPr>
            <a:t>Assigns CPUs for SQL Server use</a:t>
          </a:r>
          <a:endParaRPr lang="en-US" sz="1400" kern="1200" dirty="0">
            <a:latin typeface="+mn-lt"/>
          </a:endParaRPr>
        </a:p>
        <a:p>
          <a:pPr marL="114300" lvl="1" indent="-114300" algn="l" defTabSz="622300">
            <a:lnSpc>
              <a:spcPct val="90000"/>
            </a:lnSpc>
            <a:spcBef>
              <a:spcPct val="0"/>
            </a:spcBef>
            <a:spcAft>
              <a:spcPct val="15000"/>
            </a:spcAft>
            <a:buChar char="•"/>
          </a:pPr>
          <a:r>
            <a:rPr lang="en-US" sz="1400" kern="1200" baseline="0" dirty="0">
              <a:latin typeface="+mn-lt"/>
            </a:rPr>
            <a:t>Set via sp_configure or Alter Server Configuration</a:t>
          </a:r>
          <a:endParaRPr lang="en-US" sz="1400" kern="1200" dirty="0">
            <a:latin typeface="+mn-lt"/>
          </a:endParaRPr>
        </a:p>
        <a:p>
          <a:pPr marL="114300" lvl="1" indent="-114300" algn="l" defTabSz="622300">
            <a:lnSpc>
              <a:spcPct val="90000"/>
            </a:lnSpc>
            <a:spcBef>
              <a:spcPct val="0"/>
            </a:spcBef>
            <a:spcAft>
              <a:spcPct val="15000"/>
            </a:spcAft>
            <a:buChar char="•"/>
          </a:pPr>
          <a:r>
            <a:rPr lang="en-US" sz="1400" kern="1200" dirty="0">
              <a:latin typeface="+mn-lt"/>
            </a:rPr>
            <a:t>Only required in specific scenarios</a:t>
          </a:r>
        </a:p>
      </dsp:txBody>
      <dsp:txXfrm rot="-5400000">
        <a:off x="3917061" y="163741"/>
        <a:ext cx="6918355" cy="837541"/>
      </dsp:txXfrm>
    </dsp:sp>
    <dsp:sp modelId="{14EDB1D3-1B6D-42F3-A18A-8F1B7C1B8D4F}">
      <dsp:nvSpPr>
        <dsp:cNvPr id="0" name=""/>
        <dsp:cNvSpPr/>
      </dsp:nvSpPr>
      <dsp:spPr>
        <a:xfrm>
          <a:off x="0" y="2412"/>
          <a:ext cx="3917061" cy="1160198"/>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baseline="0"/>
            <a:t>Affinity Mask</a:t>
          </a:r>
          <a:endParaRPr lang="en-US" sz="2800" kern="1200"/>
        </a:p>
      </dsp:txBody>
      <dsp:txXfrm>
        <a:off x="56636" y="59048"/>
        <a:ext cx="3803789" cy="1046926"/>
      </dsp:txXfrm>
    </dsp:sp>
    <dsp:sp modelId="{E284ED2E-BE76-443D-9061-D1D23D755A4E}">
      <dsp:nvSpPr>
        <dsp:cNvPr id="0" name=""/>
        <dsp:cNvSpPr/>
      </dsp:nvSpPr>
      <dsp:spPr>
        <a:xfrm rot="5400000">
          <a:off x="6934813" y="-1681111"/>
          <a:ext cx="928159" cy="6963664"/>
        </a:xfrm>
        <a:prstGeom prst="round2SameRect">
          <a:avLst/>
        </a:prstGeom>
        <a:solidFill>
          <a:schemeClr val="accent2">
            <a:tint val="40000"/>
            <a:alpha val="90000"/>
            <a:hueOff val="-1162839"/>
            <a:satOff val="3109"/>
            <a:lumOff val="385"/>
            <a:alphaOff val="0"/>
          </a:schemeClr>
        </a:solidFill>
        <a:ln w="12700" cap="flat" cmpd="sng" algn="ctr">
          <a:solidFill>
            <a:schemeClr val="accent2">
              <a:tint val="40000"/>
              <a:alpha val="90000"/>
              <a:hueOff val="-1162839"/>
              <a:satOff val="3109"/>
              <a:lumOff val="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US" sz="1400" b="0" kern="1200" dirty="0">
              <a:latin typeface="+mn-lt"/>
            </a:rPr>
            <a:t>Maximum number of processors that are used for the execution of a query in a parallel plan. This option determines the number of threads that are used for the query plan operators that perform the work in parallel. </a:t>
          </a:r>
          <a:endParaRPr lang="en-US" sz="1400" kern="1200" dirty="0">
            <a:latin typeface="+mn-lt"/>
          </a:endParaRPr>
        </a:p>
      </dsp:txBody>
      <dsp:txXfrm rot="-5400000">
        <a:off x="3917061" y="1381950"/>
        <a:ext cx="6918355" cy="837541"/>
      </dsp:txXfrm>
    </dsp:sp>
    <dsp:sp modelId="{1AF58E77-9F49-4F5F-B653-8F36EA006238}">
      <dsp:nvSpPr>
        <dsp:cNvPr id="0" name=""/>
        <dsp:cNvSpPr/>
      </dsp:nvSpPr>
      <dsp:spPr>
        <a:xfrm>
          <a:off x="0" y="1220621"/>
          <a:ext cx="3917061" cy="1160198"/>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Max Degree of Parallelism (MAXDOP)</a:t>
          </a:r>
        </a:p>
      </dsp:txBody>
      <dsp:txXfrm>
        <a:off x="56636" y="1277257"/>
        <a:ext cx="3803789" cy="1046926"/>
      </dsp:txXfrm>
    </dsp:sp>
    <dsp:sp modelId="{F3B52152-8BE4-43A5-9164-5A2FE59E7C12}">
      <dsp:nvSpPr>
        <dsp:cNvPr id="0" name=""/>
        <dsp:cNvSpPr/>
      </dsp:nvSpPr>
      <dsp:spPr>
        <a:xfrm rot="5400000">
          <a:off x="6934813" y="-462902"/>
          <a:ext cx="928159" cy="6963664"/>
        </a:xfrm>
        <a:prstGeom prst="round2SameRect">
          <a:avLst/>
        </a:prstGeom>
        <a:solidFill>
          <a:schemeClr val="accent2">
            <a:tint val="40000"/>
            <a:alpha val="90000"/>
            <a:hueOff val="-2325678"/>
            <a:satOff val="6218"/>
            <a:lumOff val="769"/>
            <a:alphaOff val="0"/>
          </a:schemeClr>
        </a:solidFill>
        <a:ln w="12700" cap="flat" cmpd="sng" algn="ctr">
          <a:solidFill>
            <a:schemeClr val="accent2">
              <a:tint val="40000"/>
              <a:alpha val="90000"/>
              <a:hueOff val="-2325678"/>
              <a:satOff val="6218"/>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baseline="0" dirty="0">
              <a:latin typeface="+mn-lt"/>
            </a:rPr>
            <a:t>Queries with a cost that is higher than this value </a:t>
          </a:r>
          <a:r>
            <a:rPr lang="en-US" sz="1400" kern="1200" baseline="0">
              <a:latin typeface="+mn-lt"/>
            </a:rPr>
            <a:t>will use </a:t>
          </a:r>
          <a:r>
            <a:rPr lang="en-US" sz="1400" kern="1200" baseline="0" dirty="0">
              <a:latin typeface="+mn-lt"/>
            </a:rPr>
            <a:t>parallelism</a:t>
          </a:r>
          <a:endParaRPr lang="en-US" sz="1400" kern="1200" dirty="0">
            <a:latin typeface="+mn-lt"/>
          </a:endParaRPr>
        </a:p>
        <a:p>
          <a:pPr marL="114300" lvl="1" indent="-114300" algn="l" defTabSz="622300">
            <a:lnSpc>
              <a:spcPct val="90000"/>
            </a:lnSpc>
            <a:spcBef>
              <a:spcPct val="0"/>
            </a:spcBef>
            <a:spcAft>
              <a:spcPct val="15000"/>
            </a:spcAft>
            <a:buChar char="•"/>
          </a:pPr>
          <a:r>
            <a:rPr lang="en-US" sz="1400" kern="1200" dirty="0">
              <a:latin typeface="+mn-lt"/>
            </a:rPr>
            <a:t>Only required when dealing with excessive parallelism</a:t>
          </a:r>
        </a:p>
      </dsp:txBody>
      <dsp:txXfrm rot="-5400000">
        <a:off x="3917061" y="2600159"/>
        <a:ext cx="6918355" cy="837541"/>
      </dsp:txXfrm>
    </dsp:sp>
    <dsp:sp modelId="{A7E91A73-299E-4C90-8883-28F8F8CA2E4D}">
      <dsp:nvSpPr>
        <dsp:cNvPr id="0" name=""/>
        <dsp:cNvSpPr/>
      </dsp:nvSpPr>
      <dsp:spPr>
        <a:xfrm>
          <a:off x="0" y="2438829"/>
          <a:ext cx="3917061" cy="1160198"/>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baseline="0"/>
            <a:t>Cost Threshold for Parallelism</a:t>
          </a:r>
          <a:endParaRPr lang="en-US" sz="2800" kern="1200"/>
        </a:p>
      </dsp:txBody>
      <dsp:txXfrm>
        <a:off x="56636" y="2495465"/>
        <a:ext cx="3803789" cy="1046926"/>
      </dsp:txXfrm>
    </dsp:sp>
    <dsp:sp modelId="{E703C97D-3FA6-4B02-B5DB-D8F9896B4E74}">
      <dsp:nvSpPr>
        <dsp:cNvPr id="0" name=""/>
        <dsp:cNvSpPr/>
      </dsp:nvSpPr>
      <dsp:spPr>
        <a:xfrm rot="5400000">
          <a:off x="6934813" y="755306"/>
          <a:ext cx="928159" cy="6963664"/>
        </a:xfrm>
        <a:prstGeom prst="round2Same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baseline="0" dirty="0">
              <a:latin typeface="+mn-lt"/>
            </a:rPr>
            <a:t>Number of threads SQL Server can allocate</a:t>
          </a:r>
          <a:endParaRPr lang="en-US" sz="1400" kern="1200" dirty="0">
            <a:latin typeface="+mn-lt"/>
          </a:endParaRPr>
        </a:p>
        <a:p>
          <a:pPr marL="114300" lvl="1" indent="-114300" algn="l" defTabSz="622300">
            <a:lnSpc>
              <a:spcPct val="90000"/>
            </a:lnSpc>
            <a:spcBef>
              <a:spcPct val="0"/>
            </a:spcBef>
            <a:spcAft>
              <a:spcPct val="15000"/>
            </a:spcAft>
            <a:buChar char="•"/>
          </a:pPr>
          <a:r>
            <a:rPr lang="en-US" sz="1400" kern="1200" baseline="0" dirty="0">
              <a:latin typeface="+mn-lt"/>
            </a:rPr>
            <a:t>Recommended value is 0. SQL Server will dynamically set the Max based on CPUs and CPU architecture. (</a:t>
          </a:r>
          <a:r>
            <a:rPr lang="en-US" sz="1400" kern="1200" dirty="0">
              <a:solidFill>
                <a:schemeClr val="tx1"/>
              </a:solidFill>
              <a:latin typeface="+mn-lt"/>
              <a:ea typeface="Times New Roman"/>
              <a:cs typeface="Times New Roman"/>
            </a:rPr>
            <a:t>512 + (Processors -4) *16)</a:t>
          </a:r>
          <a:endParaRPr lang="en-US" sz="1400" kern="1200" dirty="0">
            <a:solidFill>
              <a:schemeClr val="tx1"/>
            </a:solidFill>
            <a:latin typeface="+mn-lt"/>
          </a:endParaRPr>
        </a:p>
      </dsp:txBody>
      <dsp:txXfrm rot="-5400000">
        <a:off x="3917061" y="3818368"/>
        <a:ext cx="6918355" cy="837541"/>
      </dsp:txXfrm>
    </dsp:sp>
    <dsp:sp modelId="{8E673850-EA23-40B8-AD3D-D7522D99D648}">
      <dsp:nvSpPr>
        <dsp:cNvPr id="0" name=""/>
        <dsp:cNvSpPr/>
      </dsp:nvSpPr>
      <dsp:spPr>
        <a:xfrm>
          <a:off x="0" y="3657038"/>
          <a:ext cx="3917061" cy="1160198"/>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baseline="0"/>
            <a:t>Max Worker Threads</a:t>
          </a:r>
          <a:endParaRPr lang="en-US" sz="2800" kern="1200"/>
        </a:p>
      </dsp:txBody>
      <dsp:txXfrm>
        <a:off x="56636" y="3713674"/>
        <a:ext cx="3803789" cy="104692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E66C88-09DA-40B7-823E-7E7CC6D7DE8E}">
      <dsp:nvSpPr>
        <dsp:cNvPr id="0" name=""/>
        <dsp:cNvSpPr/>
      </dsp:nvSpPr>
      <dsp:spPr>
        <a:xfrm>
          <a:off x="0" y="116624"/>
          <a:ext cx="6206049"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Stores 8 kilobytes (KB) pages of data to avoid repeated disk I/O.</a:t>
          </a:r>
          <a:endParaRPr lang="en-US" sz="2400" kern="1200" dirty="0"/>
        </a:p>
      </dsp:txBody>
      <dsp:txXfrm>
        <a:off x="59399" y="176023"/>
        <a:ext cx="6087251" cy="1098002"/>
      </dsp:txXfrm>
    </dsp:sp>
    <dsp:sp modelId="{243A05DC-3C79-4F85-8091-E770D7B8BE1C}">
      <dsp:nvSpPr>
        <dsp:cNvPr id="0" name=""/>
        <dsp:cNvSpPr/>
      </dsp:nvSpPr>
      <dsp:spPr>
        <a:xfrm>
          <a:off x="0" y="1333425"/>
          <a:ext cx="6206049"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7042"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t>Pages held in the buffer until the space is needed by something else.</a:t>
          </a:r>
        </a:p>
      </dsp:txBody>
      <dsp:txXfrm>
        <a:off x="0" y="1333425"/>
        <a:ext cx="6206049" cy="1076400"/>
      </dsp:txXfrm>
    </dsp:sp>
    <dsp:sp modelId="{8A8E48AC-E044-4373-91C2-A5EBBB4E8D5D}">
      <dsp:nvSpPr>
        <dsp:cNvPr id="0" name=""/>
        <dsp:cNvSpPr/>
      </dsp:nvSpPr>
      <dsp:spPr>
        <a:xfrm>
          <a:off x="0" y="2409825"/>
          <a:ext cx="6206049" cy="121680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Largest percentage of SQL Server memory.</a:t>
          </a:r>
          <a:endParaRPr lang="en-US" sz="2400" kern="1200" dirty="0"/>
        </a:p>
      </dsp:txBody>
      <dsp:txXfrm>
        <a:off x="59399" y="2469224"/>
        <a:ext cx="6087251" cy="1098002"/>
      </dsp:txXfrm>
    </dsp:sp>
    <dsp:sp modelId="{D9796843-2685-4002-815D-6B4869E1BB94}">
      <dsp:nvSpPr>
        <dsp:cNvPr id="0" name=""/>
        <dsp:cNvSpPr/>
      </dsp:nvSpPr>
      <dsp:spPr>
        <a:xfrm>
          <a:off x="0" y="3626625"/>
          <a:ext cx="6206049"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7042"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a:t>Separate buffer pool nodes for each hardware NUMA node.</a:t>
          </a:r>
          <a:endParaRPr lang="en-US" sz="2400" kern="1200" dirty="0"/>
        </a:p>
      </dsp:txBody>
      <dsp:txXfrm>
        <a:off x="0" y="3626625"/>
        <a:ext cx="6206049" cy="107640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915D99-4758-4B3D-BF70-BF0C0FC6135B}">
      <dsp:nvSpPr>
        <dsp:cNvPr id="0" name=""/>
        <dsp:cNvSpPr/>
      </dsp:nvSpPr>
      <dsp:spPr>
        <a:xfrm>
          <a:off x="0" y="80647"/>
          <a:ext cx="10880726" cy="1108428"/>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Special operating system API for memory allocations.</a:t>
          </a:r>
        </a:p>
      </dsp:txBody>
      <dsp:txXfrm>
        <a:off x="54109" y="134756"/>
        <a:ext cx="10772508" cy="1000210"/>
      </dsp:txXfrm>
    </dsp:sp>
    <dsp:sp modelId="{C51605AB-9B12-4028-A5CA-99A11C95E18C}">
      <dsp:nvSpPr>
        <dsp:cNvPr id="0" name=""/>
        <dsp:cNvSpPr/>
      </dsp:nvSpPr>
      <dsp:spPr>
        <a:xfrm>
          <a:off x="0" y="1263956"/>
          <a:ext cx="10880726" cy="1108428"/>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Memory allocated through this API cannot be paged out by the operating system.</a:t>
          </a:r>
        </a:p>
      </dsp:txBody>
      <dsp:txXfrm>
        <a:off x="54109" y="1318065"/>
        <a:ext cx="10772508" cy="1000210"/>
      </dsp:txXfrm>
    </dsp:sp>
    <dsp:sp modelId="{F315E720-37D8-4FD8-A6AC-3EA668E5D438}">
      <dsp:nvSpPr>
        <dsp:cNvPr id="0" name=""/>
        <dsp:cNvSpPr/>
      </dsp:nvSpPr>
      <dsp:spPr>
        <a:xfrm>
          <a:off x="0" y="2447265"/>
          <a:ext cx="10880726" cy="1108428"/>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Needed to support large page allocations.</a:t>
          </a:r>
        </a:p>
      </dsp:txBody>
      <dsp:txXfrm>
        <a:off x="54109" y="2501374"/>
        <a:ext cx="10772508" cy="1000210"/>
      </dsp:txXfrm>
    </dsp:sp>
    <dsp:sp modelId="{399ABE52-E096-45F6-AE6C-89F435566BCB}">
      <dsp:nvSpPr>
        <dsp:cNvPr id="0" name=""/>
        <dsp:cNvSpPr/>
      </dsp:nvSpPr>
      <dsp:spPr>
        <a:xfrm>
          <a:off x="0" y="3630573"/>
          <a:ext cx="10880726" cy="1108428"/>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Configured by granting the Lock pages in memory security privilege to the SQL Server service account.</a:t>
          </a:r>
        </a:p>
      </dsp:txBody>
      <dsp:txXfrm>
        <a:off x="54109" y="3684682"/>
        <a:ext cx="10772508" cy="100021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2974D2-99C2-4A58-A91A-9AAA96D00ED3}">
      <dsp:nvSpPr>
        <dsp:cNvPr id="0" name=""/>
        <dsp:cNvSpPr/>
      </dsp:nvSpPr>
      <dsp:spPr>
        <a:xfrm>
          <a:off x="0" y="43297"/>
          <a:ext cx="10880725" cy="980533"/>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One Lazy Writer thread per hardware NUMA node</a:t>
          </a:r>
        </a:p>
      </dsp:txBody>
      <dsp:txXfrm>
        <a:off x="47866" y="91163"/>
        <a:ext cx="10784993" cy="884801"/>
      </dsp:txXfrm>
    </dsp:sp>
    <dsp:sp modelId="{D0B78C38-FBE9-4610-A6A7-BF0A8CACEED9}">
      <dsp:nvSpPr>
        <dsp:cNvPr id="0" name=""/>
        <dsp:cNvSpPr/>
      </dsp:nvSpPr>
      <dsp:spPr>
        <a:xfrm>
          <a:off x="0" y="1090070"/>
          <a:ext cx="10880725" cy="980533"/>
        </a:xfrm>
        <a:prstGeom prst="round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The Lazy Writer sweeps over the Buffer Pool when there is memory pressure to avoid SQL Server being paged</a:t>
          </a:r>
        </a:p>
      </dsp:txBody>
      <dsp:txXfrm>
        <a:off x="47866" y="1137936"/>
        <a:ext cx="10784993" cy="884801"/>
      </dsp:txXfrm>
    </dsp:sp>
    <dsp:sp modelId="{D14B874A-07C0-4B29-97FA-55B19838829E}">
      <dsp:nvSpPr>
        <dsp:cNvPr id="0" name=""/>
        <dsp:cNvSpPr/>
      </dsp:nvSpPr>
      <dsp:spPr>
        <a:xfrm>
          <a:off x="0" y="2136843"/>
          <a:ext cx="10880725" cy="980533"/>
        </a:xfrm>
        <a:prstGeom prst="round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When the Lazy Writer searches for eligible buffers</a:t>
          </a:r>
        </a:p>
      </dsp:txBody>
      <dsp:txXfrm>
        <a:off x="47866" y="2184709"/>
        <a:ext cx="10784993" cy="884801"/>
      </dsp:txXfrm>
    </dsp:sp>
    <dsp:sp modelId="{658899EC-B57B-4C3E-9FF2-883A0B4C598B}">
      <dsp:nvSpPr>
        <dsp:cNvPr id="0" name=""/>
        <dsp:cNvSpPr/>
      </dsp:nvSpPr>
      <dsp:spPr>
        <a:xfrm>
          <a:off x="0" y="3117376"/>
          <a:ext cx="10880725" cy="6784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If the buffer is dirty, an asynchronous write (lazy write) is posted so that the buffer can be later freed.</a:t>
          </a:r>
        </a:p>
        <a:p>
          <a:pPr marL="171450" lvl="1" indent="-171450" algn="l" defTabSz="800100">
            <a:lnSpc>
              <a:spcPct val="90000"/>
            </a:lnSpc>
            <a:spcBef>
              <a:spcPct val="0"/>
            </a:spcBef>
            <a:spcAft>
              <a:spcPct val="20000"/>
            </a:spcAft>
            <a:buChar char="•"/>
          </a:pPr>
          <a:r>
            <a:rPr lang="en-US" sz="1800" kern="1200" dirty="0"/>
            <a:t>If the buffer is not dirty, it is freed.</a:t>
          </a:r>
        </a:p>
      </dsp:txBody>
      <dsp:txXfrm>
        <a:off x="0" y="3117376"/>
        <a:ext cx="10880725" cy="678442"/>
      </dsp:txXfrm>
    </dsp:sp>
    <dsp:sp modelId="{62E2D165-1480-43B3-B30C-109A44A1ABA8}">
      <dsp:nvSpPr>
        <dsp:cNvPr id="0" name=""/>
        <dsp:cNvSpPr/>
      </dsp:nvSpPr>
      <dsp:spPr>
        <a:xfrm>
          <a:off x="0" y="3795819"/>
          <a:ext cx="10880725" cy="980533"/>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Monitor Lazy Writer with </a:t>
          </a:r>
          <a:r>
            <a:rPr lang="en-US" sz="2300" kern="1200" dirty="0" err="1"/>
            <a:t>sys.dm_os_memory_cache_clock_hands</a:t>
          </a:r>
          <a:endParaRPr lang="en-US" sz="2300" kern="1200" dirty="0"/>
        </a:p>
      </dsp:txBody>
      <dsp:txXfrm>
        <a:off x="47866" y="3843685"/>
        <a:ext cx="10784993" cy="884801"/>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502864-0045-4722-9EC2-FDBE9E7D75F4}">
      <dsp:nvSpPr>
        <dsp:cNvPr id="0" name=""/>
        <dsp:cNvSpPr/>
      </dsp:nvSpPr>
      <dsp:spPr>
        <a:xfrm>
          <a:off x="0" y="8462"/>
          <a:ext cx="10880725" cy="1012507"/>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Use non-volatile drives (solid-state drives (SSD)) to extend buffer pool.</a:t>
          </a:r>
        </a:p>
      </dsp:txBody>
      <dsp:txXfrm>
        <a:off x="49427" y="57889"/>
        <a:ext cx="10781871" cy="913653"/>
      </dsp:txXfrm>
    </dsp:sp>
    <dsp:sp modelId="{DEBF5C4A-AE13-4657-9CBC-5B4667EAC340}">
      <dsp:nvSpPr>
        <dsp:cNvPr id="0" name=""/>
        <dsp:cNvSpPr/>
      </dsp:nvSpPr>
      <dsp:spPr>
        <a:xfrm>
          <a:off x="0" y="1075689"/>
          <a:ext cx="10880725" cy="1012507"/>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No benefit to performance if there is enough memory in the server (adding memory is preferable, if possible).</a:t>
          </a:r>
        </a:p>
      </dsp:txBody>
      <dsp:txXfrm>
        <a:off x="49427" y="1125116"/>
        <a:ext cx="10781871" cy="913653"/>
      </dsp:txXfrm>
    </dsp:sp>
    <dsp:sp modelId="{CF3D660F-646B-4B7C-91AE-2B9918F24539}">
      <dsp:nvSpPr>
        <dsp:cNvPr id="0" name=""/>
        <dsp:cNvSpPr/>
      </dsp:nvSpPr>
      <dsp:spPr>
        <a:xfrm>
          <a:off x="0" y="2142917"/>
          <a:ext cx="10880725" cy="1012507"/>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Best to use SSD storage sized 4x-10x times of RAM size.</a:t>
          </a:r>
        </a:p>
      </dsp:txBody>
      <dsp:txXfrm>
        <a:off x="49427" y="2192344"/>
        <a:ext cx="10781871" cy="913653"/>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06BCF8-2C66-41A9-B300-5F06BF4E8B9B}">
      <dsp:nvSpPr>
        <dsp:cNvPr id="0" name=""/>
        <dsp:cNvSpPr/>
      </dsp:nvSpPr>
      <dsp:spPr>
        <a:xfrm>
          <a:off x="0" y="14937"/>
          <a:ext cx="10880725" cy="847792"/>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Operations that cause a buffer pool scan.</a:t>
          </a:r>
        </a:p>
      </dsp:txBody>
      <dsp:txXfrm>
        <a:off x="41386" y="56323"/>
        <a:ext cx="10797953" cy="765020"/>
      </dsp:txXfrm>
    </dsp:sp>
    <dsp:sp modelId="{E4F89FFE-95F3-439D-B74C-6417384568EF}">
      <dsp:nvSpPr>
        <dsp:cNvPr id="0" name=""/>
        <dsp:cNvSpPr/>
      </dsp:nvSpPr>
      <dsp:spPr>
        <a:xfrm>
          <a:off x="0" y="862730"/>
          <a:ext cx="10880725" cy="2018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2860" rIns="128016" bIns="22860" numCol="1" spcCol="1270" anchor="t" anchorCtr="0">
          <a:noAutofit/>
        </a:bodyPr>
        <a:lstStyle/>
        <a:p>
          <a:pPr marL="171450" lvl="1" indent="-171450" algn="l" defTabSz="800100">
            <a:lnSpc>
              <a:spcPct val="90000"/>
            </a:lnSpc>
            <a:spcBef>
              <a:spcPct val="0"/>
            </a:spcBef>
            <a:spcAft>
              <a:spcPct val="20000"/>
            </a:spcAft>
            <a:buFont typeface="Arial" panose="020B0604020202020204" pitchFamily="34" charset="0"/>
            <a:buChar char="•"/>
          </a:pPr>
          <a:r>
            <a:rPr lang="en-US" sz="1800" b="0" i="0" kern="1200" dirty="0"/>
            <a:t>Database startup</a:t>
          </a:r>
          <a:endParaRPr lang="en-US" sz="1800" kern="1200" dirty="0"/>
        </a:p>
        <a:p>
          <a:pPr marL="171450" lvl="1" indent="-171450" algn="l" defTabSz="800100">
            <a:lnSpc>
              <a:spcPct val="90000"/>
            </a:lnSpc>
            <a:spcBef>
              <a:spcPct val="0"/>
            </a:spcBef>
            <a:spcAft>
              <a:spcPct val="20000"/>
            </a:spcAft>
            <a:buFont typeface="Arial" panose="020B0604020202020204" pitchFamily="34" charset="0"/>
            <a:buChar char="•"/>
          </a:pPr>
          <a:r>
            <a:rPr lang="en-US" sz="1800" b="0" i="0" kern="1200" dirty="0"/>
            <a:t>Database shutdown or restart</a:t>
          </a:r>
        </a:p>
        <a:p>
          <a:pPr marL="171450" lvl="1" indent="-171450" algn="l" defTabSz="800100">
            <a:lnSpc>
              <a:spcPct val="90000"/>
            </a:lnSpc>
            <a:spcBef>
              <a:spcPct val="0"/>
            </a:spcBef>
            <a:spcAft>
              <a:spcPct val="20000"/>
            </a:spcAft>
            <a:buFont typeface="Arial" panose="020B0604020202020204" pitchFamily="34" charset="0"/>
            <a:buChar char="•"/>
          </a:pPr>
          <a:r>
            <a:rPr lang="en-US" sz="1800" b="0" i="0" kern="1200" dirty="0"/>
            <a:t>AG failover</a:t>
          </a:r>
        </a:p>
        <a:p>
          <a:pPr marL="171450" lvl="1" indent="-171450" algn="l" defTabSz="800100">
            <a:lnSpc>
              <a:spcPct val="90000"/>
            </a:lnSpc>
            <a:spcBef>
              <a:spcPct val="0"/>
            </a:spcBef>
            <a:spcAft>
              <a:spcPct val="20000"/>
            </a:spcAft>
            <a:buFont typeface="Arial" panose="020B0604020202020204" pitchFamily="34" charset="0"/>
            <a:buChar char="•"/>
          </a:pPr>
          <a:r>
            <a:rPr lang="en-US" sz="1800" b="0" i="0" kern="1200" dirty="0"/>
            <a:t>Database removal (drop)</a:t>
          </a:r>
        </a:p>
        <a:p>
          <a:pPr marL="171450" lvl="1" indent="-171450" algn="l" defTabSz="800100">
            <a:lnSpc>
              <a:spcPct val="90000"/>
            </a:lnSpc>
            <a:spcBef>
              <a:spcPct val="0"/>
            </a:spcBef>
            <a:spcAft>
              <a:spcPct val="20000"/>
            </a:spcAft>
            <a:buFont typeface="Arial" panose="020B0604020202020204" pitchFamily="34" charset="0"/>
            <a:buChar char="•"/>
          </a:pPr>
          <a:r>
            <a:rPr lang="en-US" sz="1800" b="0" i="0" kern="1200" dirty="0"/>
            <a:t>File removal from a database</a:t>
          </a:r>
        </a:p>
        <a:p>
          <a:pPr marL="171450" lvl="1" indent="-171450" algn="l" defTabSz="800100">
            <a:lnSpc>
              <a:spcPct val="90000"/>
            </a:lnSpc>
            <a:spcBef>
              <a:spcPct val="0"/>
            </a:spcBef>
            <a:spcAft>
              <a:spcPct val="20000"/>
            </a:spcAft>
            <a:buFont typeface="Arial" panose="020B0604020202020204" pitchFamily="34" charset="0"/>
            <a:buChar char="•"/>
          </a:pPr>
          <a:r>
            <a:rPr lang="en-US" sz="1800" b="0" i="0" kern="1200" dirty="0"/>
            <a:t>Full or differential database backup</a:t>
          </a:r>
        </a:p>
      </dsp:txBody>
      <dsp:txXfrm>
        <a:off x="0" y="862730"/>
        <a:ext cx="10880725" cy="2018250"/>
      </dsp:txXfrm>
    </dsp:sp>
    <dsp:sp modelId="{94502864-0045-4722-9EC2-FDBE9E7D75F4}">
      <dsp:nvSpPr>
        <dsp:cNvPr id="0" name=""/>
        <dsp:cNvSpPr/>
      </dsp:nvSpPr>
      <dsp:spPr>
        <a:xfrm>
          <a:off x="0" y="2880980"/>
          <a:ext cx="10880725" cy="847792"/>
        </a:xfrm>
        <a:prstGeom prst="roundRect">
          <a:avLst/>
        </a:prstGeom>
        <a:solidFill>
          <a:schemeClr val="accent3">
            <a:hueOff val="1008935"/>
            <a:satOff val="0"/>
            <a:lumOff val="5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Buffer Pool Parallel Scans improves the performance of buffer pool scan operations on large-memory machines by utilizing multiple CPU cores.</a:t>
          </a:r>
          <a:endParaRPr lang="en-US" sz="2000" kern="1200" dirty="0"/>
        </a:p>
      </dsp:txBody>
      <dsp:txXfrm>
        <a:off x="41386" y="2922366"/>
        <a:ext cx="10797953" cy="765020"/>
      </dsp:txXfrm>
    </dsp:sp>
    <dsp:sp modelId="{911CB1BE-4400-4979-AA4F-30981F16EECA}">
      <dsp:nvSpPr>
        <dsp:cNvPr id="0" name=""/>
        <dsp:cNvSpPr/>
      </dsp:nvSpPr>
      <dsp:spPr>
        <a:xfrm>
          <a:off x="0" y="3800773"/>
          <a:ext cx="10880725" cy="847792"/>
        </a:xfrm>
        <a:prstGeom prst="round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There will be one task per 8 million buffers (64 GB) where a serial scan will still be used if there are less than 8 million buffers.</a:t>
          </a:r>
        </a:p>
      </dsp:txBody>
      <dsp:txXfrm>
        <a:off x="41386" y="3842159"/>
        <a:ext cx="10797953" cy="76502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61B06-4645-4EC1-A8DD-AAE2A99E0F86}">
      <dsp:nvSpPr>
        <dsp:cNvPr id="0" name=""/>
        <dsp:cNvSpPr/>
      </dsp:nvSpPr>
      <dsp:spPr>
        <a:xfrm>
          <a:off x="661362" y="1000410"/>
          <a:ext cx="1098000" cy="1098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43ECA43-EF3C-4894-A704-AA634EA7D407}">
      <dsp:nvSpPr>
        <dsp:cNvPr id="0" name=""/>
        <dsp:cNvSpPr/>
      </dsp:nvSpPr>
      <dsp:spPr>
        <a:xfrm>
          <a:off x="895362" y="1234410"/>
          <a:ext cx="630000" cy="63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B77F2F1-5DAA-4D8B-8E98-A18432586026}">
      <dsp:nvSpPr>
        <dsp:cNvPr id="0" name=""/>
        <dsp:cNvSpPr/>
      </dsp:nvSpPr>
      <dsp:spPr>
        <a:xfrm>
          <a:off x="310362" y="2440410"/>
          <a:ext cx="1800000" cy="1378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90000"/>
            </a:lnSpc>
            <a:spcBef>
              <a:spcPct val="0"/>
            </a:spcBef>
            <a:spcAft>
              <a:spcPct val="35000"/>
            </a:spcAft>
            <a:buNone/>
            <a:defRPr cap="all"/>
          </a:pPr>
          <a:r>
            <a:rPr lang="en-US" sz="1800" kern="1200" dirty="0"/>
            <a:t>Performance Monitor</a:t>
          </a:r>
        </a:p>
      </dsp:txBody>
      <dsp:txXfrm>
        <a:off x="310362" y="2440410"/>
        <a:ext cx="1800000" cy="1378828"/>
      </dsp:txXfrm>
    </dsp:sp>
    <dsp:sp modelId="{3429DA40-DDCA-4ACC-9295-1C9E4C132533}">
      <dsp:nvSpPr>
        <dsp:cNvPr id="0" name=""/>
        <dsp:cNvSpPr/>
      </dsp:nvSpPr>
      <dsp:spPr>
        <a:xfrm>
          <a:off x="2776362" y="1000410"/>
          <a:ext cx="1098000" cy="1098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16FBC8C-0908-4FC6-AA8A-CBAC4ADA9E51}">
      <dsp:nvSpPr>
        <dsp:cNvPr id="0" name=""/>
        <dsp:cNvSpPr/>
      </dsp:nvSpPr>
      <dsp:spPr>
        <a:xfrm>
          <a:off x="3010362" y="1234410"/>
          <a:ext cx="630000" cy="630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00B18D4-4DEA-4535-A88C-96E9D551F222}">
      <dsp:nvSpPr>
        <dsp:cNvPr id="0" name=""/>
        <dsp:cNvSpPr/>
      </dsp:nvSpPr>
      <dsp:spPr>
        <a:xfrm>
          <a:off x="2425362" y="2440410"/>
          <a:ext cx="1800000" cy="1378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90000"/>
            </a:lnSpc>
            <a:spcBef>
              <a:spcPct val="0"/>
            </a:spcBef>
            <a:spcAft>
              <a:spcPct val="35000"/>
            </a:spcAft>
            <a:buNone/>
            <a:defRPr cap="all"/>
          </a:pPr>
          <a:r>
            <a:rPr lang="en-US" sz="1800" kern="1200" dirty="0"/>
            <a:t>DBCC MEMORYSTATUS</a:t>
          </a:r>
        </a:p>
      </dsp:txBody>
      <dsp:txXfrm>
        <a:off x="2425362" y="2440410"/>
        <a:ext cx="1800000" cy="1378828"/>
      </dsp:txXfrm>
    </dsp:sp>
    <dsp:sp modelId="{8238A461-D1CE-4CBC-9288-0C1E1A1E3C07}">
      <dsp:nvSpPr>
        <dsp:cNvPr id="0" name=""/>
        <dsp:cNvSpPr/>
      </dsp:nvSpPr>
      <dsp:spPr>
        <a:xfrm>
          <a:off x="4891362" y="1000410"/>
          <a:ext cx="1098000" cy="1098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21E761C-A97F-4096-A2E6-144E16F3B304}">
      <dsp:nvSpPr>
        <dsp:cNvPr id="0" name=""/>
        <dsp:cNvSpPr/>
      </dsp:nvSpPr>
      <dsp:spPr>
        <a:xfrm>
          <a:off x="5125362" y="1234410"/>
          <a:ext cx="630000" cy="6300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1A4480B-C26D-4900-B40C-2981F9E29631}">
      <dsp:nvSpPr>
        <dsp:cNvPr id="0" name=""/>
        <dsp:cNvSpPr/>
      </dsp:nvSpPr>
      <dsp:spPr>
        <a:xfrm>
          <a:off x="4540362" y="2440410"/>
          <a:ext cx="1800000" cy="1378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90000"/>
            </a:lnSpc>
            <a:spcBef>
              <a:spcPct val="0"/>
            </a:spcBef>
            <a:spcAft>
              <a:spcPct val="35000"/>
            </a:spcAft>
            <a:buNone/>
            <a:defRPr cap="all"/>
          </a:pPr>
          <a:r>
            <a:rPr lang="en-US" sz="1800" kern="1200" dirty="0"/>
            <a:t>Dynamic Management Views</a:t>
          </a:r>
        </a:p>
      </dsp:txBody>
      <dsp:txXfrm>
        <a:off x="4540362" y="2440410"/>
        <a:ext cx="1800000" cy="1378828"/>
      </dsp:txXfrm>
    </dsp:sp>
    <dsp:sp modelId="{33A44658-89D0-4837-BA3D-6FB4105D4897}">
      <dsp:nvSpPr>
        <dsp:cNvPr id="0" name=""/>
        <dsp:cNvSpPr/>
      </dsp:nvSpPr>
      <dsp:spPr>
        <a:xfrm>
          <a:off x="7006362" y="1000410"/>
          <a:ext cx="1098000" cy="1098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C3786B4-123F-4F3B-88B3-65D36E0826C0}">
      <dsp:nvSpPr>
        <dsp:cNvPr id="0" name=""/>
        <dsp:cNvSpPr/>
      </dsp:nvSpPr>
      <dsp:spPr>
        <a:xfrm>
          <a:off x="7240362" y="1234410"/>
          <a:ext cx="630000" cy="63000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694E2D8-B519-4A53-A508-21AB4137B6E5}">
      <dsp:nvSpPr>
        <dsp:cNvPr id="0" name=""/>
        <dsp:cNvSpPr/>
      </dsp:nvSpPr>
      <dsp:spPr>
        <a:xfrm>
          <a:off x="6655362" y="2440410"/>
          <a:ext cx="1800000" cy="1378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90000"/>
            </a:lnSpc>
            <a:spcBef>
              <a:spcPct val="0"/>
            </a:spcBef>
            <a:spcAft>
              <a:spcPct val="35000"/>
            </a:spcAft>
            <a:buNone/>
            <a:defRPr cap="all"/>
          </a:pPr>
          <a:r>
            <a:rPr lang="en-US" sz="1800" kern="1200" dirty="0"/>
            <a:t>Ring Buffers with System Health data (status and OOM)</a:t>
          </a:r>
        </a:p>
      </dsp:txBody>
      <dsp:txXfrm>
        <a:off x="6655362" y="2440410"/>
        <a:ext cx="1800000" cy="1378828"/>
      </dsp:txXfrm>
    </dsp:sp>
    <dsp:sp modelId="{8474BAFC-6A56-4012-830F-323CEF887216}">
      <dsp:nvSpPr>
        <dsp:cNvPr id="0" name=""/>
        <dsp:cNvSpPr/>
      </dsp:nvSpPr>
      <dsp:spPr>
        <a:xfrm>
          <a:off x="9121362" y="1000410"/>
          <a:ext cx="1098000" cy="1098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7E9D6D-F1E2-4CF7-A6E3-ACB723AC0680}">
      <dsp:nvSpPr>
        <dsp:cNvPr id="0" name=""/>
        <dsp:cNvSpPr/>
      </dsp:nvSpPr>
      <dsp:spPr>
        <a:xfrm>
          <a:off x="9355362" y="1234410"/>
          <a:ext cx="630000" cy="63000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69344CA-D8D6-455B-BF81-8F71F279C8A4}">
      <dsp:nvSpPr>
        <dsp:cNvPr id="0" name=""/>
        <dsp:cNvSpPr/>
      </dsp:nvSpPr>
      <dsp:spPr>
        <a:xfrm>
          <a:off x="8770362" y="2440410"/>
          <a:ext cx="1800000" cy="1378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defRPr cap="all"/>
          </a:pPr>
          <a:r>
            <a:rPr lang="en-US" sz="1700" kern="1200" dirty="0"/>
            <a:t>SQL Server Errorlog (OOM with DBCC MEMORYSTATUS dump)</a:t>
          </a:r>
        </a:p>
      </dsp:txBody>
      <dsp:txXfrm>
        <a:off x="8770362" y="2440410"/>
        <a:ext cx="1800000" cy="1378828"/>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20D814-4D2E-45F1-8D07-D477BD27872C}">
      <dsp:nvSpPr>
        <dsp:cNvPr id="0" name=""/>
        <dsp:cNvSpPr/>
      </dsp:nvSpPr>
      <dsp:spPr>
        <a:xfrm>
          <a:off x="0" y="41924"/>
          <a:ext cx="5821362" cy="514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Buffer Manager\Buffer cache hit ratio</a:t>
          </a:r>
          <a:endParaRPr lang="en-US" sz="2000" kern="1200"/>
        </a:p>
      </dsp:txBody>
      <dsp:txXfrm>
        <a:off x="25130" y="67054"/>
        <a:ext cx="5771102" cy="464540"/>
      </dsp:txXfrm>
    </dsp:sp>
    <dsp:sp modelId="{844C10A2-00F2-469E-9A9C-C5514DC79D0B}">
      <dsp:nvSpPr>
        <dsp:cNvPr id="0" name=""/>
        <dsp:cNvSpPr/>
      </dsp:nvSpPr>
      <dsp:spPr>
        <a:xfrm>
          <a:off x="0" y="556724"/>
          <a:ext cx="5821362"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828" tIns="25400" rIns="142240" bIns="25400" numCol="1" spcCol="1270" anchor="t" anchorCtr="0">
          <a:noAutofit/>
        </a:bodyPr>
        <a:lstStyle/>
        <a:p>
          <a:pPr marL="171450" lvl="1" indent="-171450" algn="l" defTabSz="711200">
            <a:lnSpc>
              <a:spcPct val="90000"/>
            </a:lnSpc>
            <a:spcBef>
              <a:spcPct val="0"/>
            </a:spcBef>
            <a:spcAft>
              <a:spcPct val="20000"/>
            </a:spcAft>
            <a:buChar char="•"/>
          </a:pPr>
          <a:r>
            <a:rPr lang="en-US" sz="1600" kern="1200" baseline="0"/>
            <a:t>Must be as close to 100% as possible</a:t>
          </a:r>
          <a:endParaRPr lang="en-US" sz="1600" kern="1200"/>
        </a:p>
      </dsp:txBody>
      <dsp:txXfrm>
        <a:off x="0" y="556724"/>
        <a:ext cx="5821362" cy="331200"/>
      </dsp:txXfrm>
    </dsp:sp>
    <dsp:sp modelId="{C27C1C92-6882-4290-91C3-3F46625F966A}">
      <dsp:nvSpPr>
        <dsp:cNvPr id="0" name=""/>
        <dsp:cNvSpPr/>
      </dsp:nvSpPr>
      <dsp:spPr>
        <a:xfrm>
          <a:off x="0" y="887924"/>
          <a:ext cx="5821362" cy="514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Buffer Manager\Page life expectancy</a:t>
          </a:r>
          <a:endParaRPr lang="en-US" sz="2000" kern="1200"/>
        </a:p>
      </dsp:txBody>
      <dsp:txXfrm>
        <a:off x="25130" y="913054"/>
        <a:ext cx="5771102" cy="464540"/>
      </dsp:txXfrm>
    </dsp:sp>
    <dsp:sp modelId="{6086A914-1247-43B8-97C0-EED088A2D0A2}">
      <dsp:nvSpPr>
        <dsp:cNvPr id="0" name=""/>
        <dsp:cNvSpPr/>
      </dsp:nvSpPr>
      <dsp:spPr>
        <a:xfrm>
          <a:off x="0" y="1402724"/>
          <a:ext cx="5821362"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828" tIns="25400" rIns="142240" bIns="25400" numCol="1" spcCol="1270" anchor="t" anchorCtr="0">
          <a:noAutofit/>
        </a:bodyPr>
        <a:lstStyle/>
        <a:p>
          <a:pPr marL="171450" lvl="1" indent="-171450" algn="l" defTabSz="711200">
            <a:lnSpc>
              <a:spcPct val="90000"/>
            </a:lnSpc>
            <a:spcBef>
              <a:spcPct val="0"/>
            </a:spcBef>
            <a:spcAft>
              <a:spcPct val="20000"/>
            </a:spcAft>
            <a:buChar char="•"/>
          </a:pPr>
          <a:r>
            <a:rPr lang="en-US" sz="1600" kern="1200" baseline="0"/>
            <a:t>A drop of more than 30% should be investigated</a:t>
          </a:r>
          <a:endParaRPr lang="en-US" sz="1600" kern="1200"/>
        </a:p>
      </dsp:txBody>
      <dsp:txXfrm>
        <a:off x="0" y="1402724"/>
        <a:ext cx="5821362" cy="331200"/>
      </dsp:txXfrm>
    </dsp:sp>
    <dsp:sp modelId="{8C62B66A-2DD8-4D56-9AA0-15368204C5DA}">
      <dsp:nvSpPr>
        <dsp:cNvPr id="0" name=""/>
        <dsp:cNvSpPr/>
      </dsp:nvSpPr>
      <dsp:spPr>
        <a:xfrm>
          <a:off x="0" y="1733925"/>
          <a:ext cx="5821362" cy="51480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Buffer Manager\Page lookups/sec</a:t>
          </a:r>
          <a:endParaRPr lang="en-US" sz="2000" kern="1200"/>
        </a:p>
      </dsp:txBody>
      <dsp:txXfrm>
        <a:off x="25130" y="1759055"/>
        <a:ext cx="5771102" cy="464540"/>
      </dsp:txXfrm>
    </dsp:sp>
    <dsp:sp modelId="{9E6313DC-090C-48C2-8607-048B8C3538D3}">
      <dsp:nvSpPr>
        <dsp:cNvPr id="0" name=""/>
        <dsp:cNvSpPr/>
      </dsp:nvSpPr>
      <dsp:spPr>
        <a:xfrm>
          <a:off x="0" y="2306325"/>
          <a:ext cx="5821362" cy="51480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Buffer Manager\Page reads/sec</a:t>
          </a:r>
          <a:endParaRPr lang="en-US" sz="2000" kern="1200"/>
        </a:p>
      </dsp:txBody>
      <dsp:txXfrm>
        <a:off x="25130" y="2331455"/>
        <a:ext cx="5771102" cy="464540"/>
      </dsp:txXfrm>
    </dsp:sp>
    <dsp:sp modelId="{0E1478C1-7AD2-454D-B03A-0C467370CCA8}">
      <dsp:nvSpPr>
        <dsp:cNvPr id="0" name=""/>
        <dsp:cNvSpPr/>
      </dsp:nvSpPr>
      <dsp:spPr>
        <a:xfrm>
          <a:off x="0" y="2878725"/>
          <a:ext cx="5821362" cy="514800"/>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Plan Cache\Cache Hit Ratio</a:t>
          </a:r>
          <a:endParaRPr lang="en-US" sz="2000" kern="1200" dirty="0"/>
        </a:p>
      </dsp:txBody>
      <dsp:txXfrm>
        <a:off x="25130" y="2903855"/>
        <a:ext cx="5771102" cy="464540"/>
      </dsp:txXfrm>
    </dsp:sp>
    <dsp:sp modelId="{3F138ED1-01A9-4395-8550-8A1F12EA7CF1}">
      <dsp:nvSpPr>
        <dsp:cNvPr id="0" name=""/>
        <dsp:cNvSpPr/>
      </dsp:nvSpPr>
      <dsp:spPr>
        <a:xfrm>
          <a:off x="0" y="3393525"/>
          <a:ext cx="5821362"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828" tIns="25400" rIns="142240" bIns="25400" numCol="1" spcCol="1270" anchor="t" anchorCtr="0">
          <a:noAutofit/>
        </a:bodyPr>
        <a:lstStyle/>
        <a:p>
          <a:pPr marL="171450" lvl="1" indent="-171450" algn="l" defTabSz="711200">
            <a:lnSpc>
              <a:spcPct val="90000"/>
            </a:lnSpc>
            <a:spcBef>
              <a:spcPct val="0"/>
            </a:spcBef>
            <a:spcAft>
              <a:spcPct val="20000"/>
            </a:spcAft>
            <a:buChar char="•"/>
          </a:pPr>
          <a:r>
            <a:rPr lang="en-US" sz="1600" kern="1200" baseline="0"/>
            <a:t>Must be higher than 95%</a:t>
          </a:r>
          <a:endParaRPr lang="en-US" sz="1600" kern="1200"/>
        </a:p>
      </dsp:txBody>
      <dsp:txXfrm>
        <a:off x="0" y="3393525"/>
        <a:ext cx="5821362" cy="331200"/>
      </dsp:txXfrm>
    </dsp:sp>
    <dsp:sp modelId="{5FCF316A-D288-4DA5-A097-F9855C88CDA4}">
      <dsp:nvSpPr>
        <dsp:cNvPr id="0" name=""/>
        <dsp:cNvSpPr/>
      </dsp:nvSpPr>
      <dsp:spPr>
        <a:xfrm>
          <a:off x="0" y="3724725"/>
          <a:ext cx="5821362" cy="514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Granted Workspace Memory (KB)</a:t>
          </a:r>
          <a:endParaRPr lang="en-US" sz="2000" kern="1200"/>
        </a:p>
      </dsp:txBody>
      <dsp:txXfrm>
        <a:off x="25130" y="3749855"/>
        <a:ext cx="5771102" cy="464540"/>
      </dsp:txXfrm>
    </dsp:sp>
    <dsp:sp modelId="{0B8134AF-BFAD-4E6B-82BF-A4BF2C100562}">
      <dsp:nvSpPr>
        <dsp:cNvPr id="0" name=""/>
        <dsp:cNvSpPr/>
      </dsp:nvSpPr>
      <dsp:spPr>
        <a:xfrm>
          <a:off x="0" y="4239525"/>
          <a:ext cx="5821362" cy="538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828" tIns="25400" rIns="142240" bIns="25400" numCol="1" spcCol="1270" anchor="t" anchorCtr="0">
          <a:noAutofit/>
        </a:bodyPr>
        <a:lstStyle/>
        <a:p>
          <a:pPr marL="171450" lvl="1" indent="-171450" algn="l" defTabSz="711200">
            <a:lnSpc>
              <a:spcPct val="90000"/>
            </a:lnSpc>
            <a:spcBef>
              <a:spcPct val="0"/>
            </a:spcBef>
            <a:spcAft>
              <a:spcPct val="20000"/>
            </a:spcAft>
            <a:buChar char="•"/>
          </a:pPr>
          <a:r>
            <a:rPr lang="en-US" sz="1600" kern="1200" baseline="0"/>
            <a:t>Automatically calculated based on system configuration, monitor for high usage</a:t>
          </a:r>
          <a:endParaRPr lang="en-US" sz="1600" kern="1200"/>
        </a:p>
      </dsp:txBody>
      <dsp:txXfrm>
        <a:off x="0" y="4239525"/>
        <a:ext cx="5821362" cy="53820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5323"/>
          <a:ext cx="10880725" cy="11606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List three features that can be used to monitor memory usage?</a:t>
          </a:r>
        </a:p>
      </dsp:txBody>
      <dsp:txXfrm>
        <a:off x="56658" y="61981"/>
        <a:ext cx="10767409" cy="1047324"/>
      </dsp:txXfrm>
    </dsp:sp>
    <dsp:sp modelId="{4A71D5C7-A7D6-46CE-B888-CF65241F6B98}">
      <dsp:nvSpPr>
        <dsp:cNvPr id="0" name=""/>
        <dsp:cNvSpPr/>
      </dsp:nvSpPr>
      <dsp:spPr>
        <a:xfrm>
          <a:off x="0" y="1344523"/>
          <a:ext cx="10880725" cy="11606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ich DMV allows you to view memory pressure?</a:t>
          </a:r>
        </a:p>
      </dsp:txBody>
      <dsp:txXfrm>
        <a:off x="56658" y="1401181"/>
        <a:ext cx="10767409" cy="1047324"/>
      </dsp:txXfrm>
    </dsp:sp>
    <dsp:sp modelId="{4CE6D622-6C4B-4912-A756-057BDFDF7259}">
      <dsp:nvSpPr>
        <dsp:cNvPr id="0" name=""/>
        <dsp:cNvSpPr/>
      </dsp:nvSpPr>
      <dsp:spPr>
        <a:xfrm>
          <a:off x="0" y="2683723"/>
          <a:ext cx="10880725" cy="11606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ich memory component is responsible for allocating memory?</a:t>
          </a:r>
        </a:p>
      </dsp:txBody>
      <dsp:txXfrm>
        <a:off x="56658" y="2740381"/>
        <a:ext cx="10767409" cy="10473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CCB0F4-16B8-4109-B453-EAA6FB561D0C}">
      <dsp:nvSpPr>
        <dsp:cNvPr id="0" name=""/>
        <dsp:cNvSpPr/>
      </dsp:nvSpPr>
      <dsp:spPr>
        <a:xfrm>
          <a:off x="0" y="23817"/>
          <a:ext cx="10880726" cy="5616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SOS_SCHEDULER_YIELD</a:t>
          </a:r>
          <a:endParaRPr lang="en-US" sz="2000" kern="1200" dirty="0"/>
        </a:p>
      </dsp:txBody>
      <dsp:txXfrm>
        <a:off x="27415" y="51232"/>
        <a:ext cx="10825896" cy="506770"/>
      </dsp:txXfrm>
    </dsp:sp>
    <dsp:sp modelId="{62C5579D-D99F-4DA8-91AC-CB6F57C85D18}">
      <dsp:nvSpPr>
        <dsp:cNvPr id="0" name=""/>
        <dsp:cNvSpPr/>
      </dsp:nvSpPr>
      <dsp:spPr>
        <a:xfrm>
          <a:off x="0" y="585417"/>
          <a:ext cx="10880726" cy="496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spc="0" baseline="0" dirty="0">
              <a:latin typeface="+mn-lt"/>
              <a:ea typeface="+mn-ea"/>
              <a:cs typeface="Segoe UI" panose="020B0502040204020203" pitchFamily="34" charset="0"/>
            </a:rPr>
            <a:t>Normally means a thread has yielded after exhausting the 4ms quantum.</a:t>
          </a:r>
        </a:p>
      </dsp:txBody>
      <dsp:txXfrm>
        <a:off x="0" y="585417"/>
        <a:ext cx="10880726" cy="496800"/>
      </dsp:txXfrm>
    </dsp:sp>
    <dsp:sp modelId="{84F5C557-BA97-4664-AB76-D06F883D5CBD}">
      <dsp:nvSpPr>
        <dsp:cNvPr id="0" name=""/>
        <dsp:cNvSpPr/>
      </dsp:nvSpPr>
      <dsp:spPr>
        <a:xfrm>
          <a:off x="0" y="1082217"/>
          <a:ext cx="10880726" cy="5616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THREADPOOL</a:t>
          </a:r>
          <a:endParaRPr lang="en-US" sz="2000" kern="1200" spc="0" baseline="0" dirty="0">
            <a:latin typeface="+mn-lt"/>
            <a:ea typeface="+mn-ea"/>
            <a:cs typeface="Segoe UI" panose="020B0502040204020203" pitchFamily="34" charset="0"/>
          </a:endParaRPr>
        </a:p>
      </dsp:txBody>
      <dsp:txXfrm>
        <a:off x="27415" y="1109632"/>
        <a:ext cx="10825896" cy="506770"/>
      </dsp:txXfrm>
    </dsp:sp>
    <dsp:sp modelId="{F777EA45-D269-46D8-80A9-3020D0D3EA35}">
      <dsp:nvSpPr>
        <dsp:cNvPr id="0" name=""/>
        <dsp:cNvSpPr/>
      </dsp:nvSpPr>
      <dsp:spPr>
        <a:xfrm>
          <a:off x="0" y="1643817"/>
          <a:ext cx="10880726" cy="1428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Look for high blocking or contention problems with workers. </a:t>
          </a:r>
        </a:p>
        <a:p>
          <a:pPr marL="228600" lvl="1" indent="-228600" algn="l" defTabSz="889000">
            <a:lnSpc>
              <a:spcPct val="90000"/>
            </a:lnSpc>
            <a:spcBef>
              <a:spcPct val="0"/>
            </a:spcBef>
            <a:spcAft>
              <a:spcPct val="20000"/>
            </a:spcAft>
            <a:buChar char="•"/>
          </a:pPr>
          <a:r>
            <a:rPr lang="en-US" sz="2000" kern="1200" dirty="0"/>
            <a:t>This will not show up in </a:t>
          </a:r>
          <a:r>
            <a:rPr lang="en-US" sz="2000" kern="1200" dirty="0" err="1"/>
            <a:t>sys.dm_exec_requests</a:t>
          </a:r>
          <a:r>
            <a:rPr lang="en-US" sz="2000" kern="1200" dirty="0"/>
            <a:t>.</a:t>
          </a:r>
        </a:p>
        <a:p>
          <a:pPr marL="228600" lvl="1" indent="-228600" algn="l" defTabSz="889000">
            <a:lnSpc>
              <a:spcPct val="90000"/>
            </a:lnSpc>
            <a:spcBef>
              <a:spcPct val="0"/>
            </a:spcBef>
            <a:spcAft>
              <a:spcPct val="20000"/>
            </a:spcAft>
            <a:buChar char="•"/>
          </a:pPr>
          <a:r>
            <a:rPr lang="en-US" sz="2000" kern="1200" spc="0" baseline="0">
              <a:latin typeface="+mn-lt"/>
              <a:ea typeface="+mn-ea"/>
              <a:cs typeface="Segoe UI" panose="020B0502040204020203" pitchFamily="34" charset="0"/>
            </a:rPr>
            <a:t>Might indicate CPU pressure if very high overall percentage of Processor Time. Example: Large amount of Signal Waits (Runnable Queue)</a:t>
          </a:r>
          <a:endParaRPr lang="en-US" sz="2000" kern="1200" spc="0" baseline="0" dirty="0">
            <a:latin typeface="+mn-lt"/>
            <a:ea typeface="+mn-ea"/>
            <a:cs typeface="Segoe UI" panose="020B0502040204020203" pitchFamily="34" charset="0"/>
          </a:endParaRPr>
        </a:p>
      </dsp:txBody>
      <dsp:txXfrm>
        <a:off x="0" y="1643817"/>
        <a:ext cx="10880726" cy="1428300"/>
      </dsp:txXfrm>
    </dsp:sp>
    <dsp:sp modelId="{17809C47-9500-41D0-A865-B79CA4691ABA}">
      <dsp:nvSpPr>
        <dsp:cNvPr id="0" name=""/>
        <dsp:cNvSpPr/>
      </dsp:nvSpPr>
      <dsp:spPr>
        <a:xfrm>
          <a:off x="0" y="3072118"/>
          <a:ext cx="10880726" cy="56160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CXPACKET</a:t>
          </a:r>
          <a:endParaRPr lang="en-US" sz="2000" kern="1200"/>
        </a:p>
      </dsp:txBody>
      <dsp:txXfrm>
        <a:off x="27415" y="3099533"/>
        <a:ext cx="10825896" cy="506770"/>
      </dsp:txXfrm>
    </dsp:sp>
    <dsp:sp modelId="{43B47D74-38D7-4DD1-B257-8C59E82928FC}">
      <dsp:nvSpPr>
        <dsp:cNvPr id="0" name=""/>
        <dsp:cNvSpPr/>
      </dsp:nvSpPr>
      <dsp:spPr>
        <a:xfrm>
          <a:off x="0" y="3633718"/>
          <a:ext cx="10880726" cy="13351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spc="0" baseline="0" dirty="0">
              <a:latin typeface="+mn-lt"/>
              <a:ea typeface="+mn-ea"/>
              <a:cs typeface="Segoe UI" panose="020B0502040204020203" pitchFamily="34" charset="0"/>
            </a:rPr>
            <a:t>If it's an OLTP system, check for parallelism issues if above 20%</a:t>
          </a:r>
        </a:p>
        <a:p>
          <a:pPr marL="228600" lvl="1" indent="-228600" algn="l" defTabSz="889000">
            <a:lnSpc>
              <a:spcPct val="90000"/>
            </a:lnSpc>
            <a:spcBef>
              <a:spcPct val="0"/>
            </a:spcBef>
            <a:spcAft>
              <a:spcPct val="20000"/>
            </a:spcAft>
            <a:buChar char="•"/>
          </a:pPr>
          <a:r>
            <a:rPr lang="en-US" sz="2000" kern="1200" spc="0" baseline="0" dirty="0">
              <a:latin typeface="+mn-lt"/>
              <a:ea typeface="+mn-ea"/>
              <a:cs typeface="Segoe UI" panose="020B0502040204020203" pitchFamily="34" charset="0"/>
            </a:rPr>
            <a:t>If combined with a high number of </a:t>
          </a:r>
          <a:r>
            <a:rPr lang="en-US" sz="2000" kern="1200" spc="0" baseline="0" dirty="0" err="1">
              <a:latin typeface="+mn-lt"/>
              <a:ea typeface="+mn-ea"/>
              <a:cs typeface="Segoe UI" panose="020B0502040204020203" pitchFamily="34" charset="0"/>
            </a:rPr>
            <a:t>PAGEIOLATCH_xx</a:t>
          </a:r>
          <a:r>
            <a:rPr lang="en-US" sz="2000" kern="1200" spc="0" baseline="0" dirty="0">
              <a:latin typeface="+mn-lt"/>
              <a:ea typeface="+mn-ea"/>
              <a:cs typeface="Segoe UI" panose="020B0502040204020203" pitchFamily="34" charset="0"/>
            </a:rPr>
            <a:t> waits, it could be due to large parallel table scans going on because of incorrect non-clustered indexes, or out-of-date statistics causing a bad query plan</a:t>
          </a:r>
        </a:p>
      </dsp:txBody>
      <dsp:txXfrm>
        <a:off x="0" y="3633718"/>
        <a:ext cx="10880726" cy="133515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3D2E56-F5FA-47DF-99FE-EE35C3EC9717}">
      <dsp:nvSpPr>
        <dsp:cNvPr id="0" name=""/>
        <dsp:cNvSpPr/>
      </dsp:nvSpPr>
      <dsp:spPr>
        <a:xfrm>
          <a:off x="3199" y="296536"/>
          <a:ext cx="2538152" cy="152289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dirty="0"/>
            <a:t>Offers nodes of processors each with its own bus for access for local memory.</a:t>
          </a:r>
          <a:endParaRPr lang="en-US" sz="1800" kern="1200" dirty="0"/>
        </a:p>
      </dsp:txBody>
      <dsp:txXfrm>
        <a:off x="3199" y="296536"/>
        <a:ext cx="2538152" cy="1522891"/>
      </dsp:txXfrm>
    </dsp:sp>
    <dsp:sp modelId="{820BEEF5-8BBB-4553-9D10-CFDA1284F546}">
      <dsp:nvSpPr>
        <dsp:cNvPr id="0" name=""/>
        <dsp:cNvSpPr/>
      </dsp:nvSpPr>
      <dsp:spPr>
        <a:xfrm>
          <a:off x="2795166" y="296536"/>
          <a:ext cx="2538152" cy="1522891"/>
        </a:xfrm>
        <a:prstGeom prst="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dirty="0"/>
            <a:t>Interconnect between nodes allows one node to get to other’s memory.</a:t>
          </a:r>
          <a:endParaRPr lang="en-US" sz="1800" kern="1200" dirty="0"/>
        </a:p>
      </dsp:txBody>
      <dsp:txXfrm>
        <a:off x="2795166" y="296536"/>
        <a:ext cx="2538152" cy="1522891"/>
      </dsp:txXfrm>
    </dsp:sp>
    <dsp:sp modelId="{8A556292-B4FF-4026-B45E-729DE89B2F7F}">
      <dsp:nvSpPr>
        <dsp:cNvPr id="0" name=""/>
        <dsp:cNvSpPr/>
      </dsp:nvSpPr>
      <dsp:spPr>
        <a:xfrm>
          <a:off x="5587134" y="296536"/>
          <a:ext cx="2538152" cy="1522891"/>
        </a:xfrm>
        <a:prstGeom prst="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dirty="0"/>
            <a:t>Offers scalability for NUMA-aware applications.</a:t>
          </a:r>
          <a:endParaRPr lang="en-US" sz="1800" kern="1200" dirty="0"/>
        </a:p>
      </dsp:txBody>
      <dsp:txXfrm>
        <a:off x="5587134" y="296536"/>
        <a:ext cx="2538152" cy="1522891"/>
      </dsp:txXfrm>
    </dsp:sp>
    <dsp:sp modelId="{7ACA7951-936A-47DD-B627-F33AAD9720D2}">
      <dsp:nvSpPr>
        <dsp:cNvPr id="0" name=""/>
        <dsp:cNvSpPr/>
      </dsp:nvSpPr>
      <dsp:spPr>
        <a:xfrm>
          <a:off x="8379101" y="296536"/>
          <a:ext cx="2538152" cy="1522891"/>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dirty="0"/>
            <a:t>NUMA-aware applications such as SQL Server try to avoid remote or foreign memory access.</a:t>
          </a:r>
          <a:endParaRPr lang="en-US" sz="1800" kern="1200" dirty="0"/>
        </a:p>
      </dsp:txBody>
      <dsp:txXfrm>
        <a:off x="8379101" y="296536"/>
        <a:ext cx="2538152" cy="152289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DC8FF4-23D0-49C9-932F-367EA43A19A5}">
      <dsp:nvSpPr>
        <dsp:cNvPr id="0" name=""/>
        <dsp:cNvSpPr/>
      </dsp:nvSpPr>
      <dsp:spPr>
        <a:xfrm>
          <a:off x="1479871" y="1340535"/>
          <a:ext cx="951995" cy="683759"/>
        </a:xfrm>
        <a:custGeom>
          <a:avLst/>
          <a:gdLst/>
          <a:ahLst/>
          <a:cxnLst/>
          <a:rect l="0" t="0" r="0" b="0"/>
          <a:pathLst>
            <a:path>
              <a:moveTo>
                <a:pt x="0" y="697470"/>
              </a:moveTo>
              <a:lnTo>
                <a:pt x="971084"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28CCE6C5-2026-4781-B494-BDBB77F43612}">
      <dsp:nvSpPr>
        <dsp:cNvPr id="0" name=""/>
        <dsp:cNvSpPr/>
      </dsp:nvSpPr>
      <dsp:spPr>
        <a:xfrm>
          <a:off x="1479871" y="726118"/>
          <a:ext cx="951995" cy="1298177"/>
        </a:xfrm>
        <a:custGeom>
          <a:avLst/>
          <a:gdLst/>
          <a:ahLst/>
          <a:cxnLst/>
          <a:rect l="0" t="0" r="0" b="0"/>
          <a:pathLst>
            <a:path>
              <a:moveTo>
                <a:pt x="0" y="1324208"/>
              </a:moveTo>
              <a:lnTo>
                <a:pt x="971084"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F4C20A29-EA04-42CA-A084-E4743416D138}">
      <dsp:nvSpPr>
        <dsp:cNvPr id="0" name=""/>
        <dsp:cNvSpPr/>
      </dsp:nvSpPr>
      <dsp:spPr>
        <a:xfrm>
          <a:off x="527876" y="1340535"/>
          <a:ext cx="951995" cy="683759"/>
        </a:xfrm>
        <a:custGeom>
          <a:avLst/>
          <a:gdLst/>
          <a:ahLst/>
          <a:cxnLst/>
          <a:rect l="0" t="0" r="0" b="0"/>
          <a:pathLst>
            <a:path>
              <a:moveTo>
                <a:pt x="971084" y="697470"/>
              </a:moveTo>
              <a:lnTo>
                <a:pt x="0"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E38EF0F5-AA9C-450C-8E08-AC967303CB13}">
      <dsp:nvSpPr>
        <dsp:cNvPr id="0" name=""/>
        <dsp:cNvSpPr/>
      </dsp:nvSpPr>
      <dsp:spPr>
        <a:xfrm>
          <a:off x="527876" y="726118"/>
          <a:ext cx="951995" cy="1298177"/>
        </a:xfrm>
        <a:custGeom>
          <a:avLst/>
          <a:gdLst/>
          <a:ahLst/>
          <a:cxnLst/>
          <a:rect l="0" t="0" r="0" b="0"/>
          <a:pathLst>
            <a:path>
              <a:moveTo>
                <a:pt x="971084" y="1324208"/>
              </a:moveTo>
              <a:lnTo>
                <a:pt x="0"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4E768D9A-5D33-4282-ACB8-676D7C9134A9}">
      <dsp:nvSpPr>
        <dsp:cNvPr id="0" name=""/>
        <dsp:cNvSpPr/>
      </dsp:nvSpPr>
      <dsp:spPr>
        <a:xfrm>
          <a:off x="1125086" y="1686717"/>
          <a:ext cx="709570" cy="337578"/>
        </a:xfrm>
        <a:prstGeom prst="rect">
          <a:avLst/>
        </a:prstGeom>
        <a:gradFill rotWithShape="0">
          <a:gsLst>
            <a:gs pos="0">
              <a:srgbClr val="15AEEF">
                <a:shade val="60000"/>
                <a:hueOff val="0"/>
                <a:satOff val="0"/>
                <a:lumOff val="0"/>
                <a:alphaOff val="0"/>
                <a:tint val="100000"/>
                <a:shade val="100000"/>
                <a:satMod val="130000"/>
              </a:srgbClr>
            </a:gs>
            <a:gs pos="100000">
              <a:srgbClr val="15AEEF">
                <a:shade val="6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kern="1200" cap="none" normalizeH="0" baseline="0" dirty="0">
              <a:ln/>
              <a:solidFill>
                <a:sysClr val="window" lastClr="FFFFFF"/>
              </a:solidFill>
              <a:effectLst/>
              <a:latin typeface="Franklin Gothic Medium" pitchFamily="34" charset="0"/>
              <a:ea typeface="+mn-ea"/>
              <a:cs typeface="Arial" pitchFamily="34" charset="0"/>
            </a:rPr>
            <a:t>Memory</a:t>
          </a:r>
          <a:endParaRPr kumimoji="0" lang="en-US" sz="1800" b="0" i="0" u="none" strike="noStrike" kern="1200" cap="none" normalizeH="0" baseline="0" dirty="0">
            <a:ln/>
            <a:solidFill>
              <a:sysClr val="window" lastClr="FFFFFF"/>
            </a:solidFill>
            <a:effectLst/>
            <a:latin typeface="Franklin Gothic Medium" pitchFamily="34" charset="0"/>
            <a:ea typeface="+mn-ea"/>
            <a:cs typeface="Arial" pitchFamily="34" charset="0"/>
          </a:endParaRPr>
        </a:p>
      </dsp:txBody>
      <dsp:txXfrm>
        <a:off x="1125086" y="1686717"/>
        <a:ext cx="709570" cy="337578"/>
      </dsp:txXfrm>
    </dsp:sp>
    <dsp:sp modelId="{BA979EF0-F577-453D-B0F7-F9814923326E}">
      <dsp:nvSpPr>
        <dsp:cNvPr id="0" name=""/>
        <dsp:cNvSpPr/>
      </dsp:nvSpPr>
      <dsp:spPr>
        <a:xfrm>
          <a:off x="173090" y="726118"/>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1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0</a:t>
          </a:r>
        </a:p>
      </dsp:txBody>
      <dsp:txXfrm>
        <a:off x="173090" y="726118"/>
        <a:ext cx="709570" cy="354785"/>
      </dsp:txXfrm>
    </dsp:sp>
    <dsp:sp modelId="{DFF80925-FDD7-4B50-A9C2-C4E69E4A4EA1}">
      <dsp:nvSpPr>
        <dsp:cNvPr id="0" name=""/>
        <dsp:cNvSpPr/>
      </dsp:nvSpPr>
      <dsp:spPr>
        <a:xfrm>
          <a:off x="173090" y="1340535"/>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2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1</a:t>
          </a:r>
        </a:p>
      </dsp:txBody>
      <dsp:txXfrm>
        <a:off x="173090" y="1340535"/>
        <a:ext cx="709570" cy="354785"/>
      </dsp:txXfrm>
    </dsp:sp>
    <dsp:sp modelId="{567716C5-C7FF-48D8-9391-8BAB0787B4CA}">
      <dsp:nvSpPr>
        <dsp:cNvPr id="0" name=""/>
        <dsp:cNvSpPr/>
      </dsp:nvSpPr>
      <dsp:spPr>
        <a:xfrm>
          <a:off x="2077081" y="726118"/>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2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2</a:t>
          </a:r>
        </a:p>
      </dsp:txBody>
      <dsp:txXfrm>
        <a:off x="2077081" y="726118"/>
        <a:ext cx="709570" cy="354785"/>
      </dsp:txXfrm>
    </dsp:sp>
    <dsp:sp modelId="{CE0AA596-6A2A-4114-9BE9-34A64E0FB1FE}">
      <dsp:nvSpPr>
        <dsp:cNvPr id="0" name=""/>
        <dsp:cNvSpPr/>
      </dsp:nvSpPr>
      <dsp:spPr>
        <a:xfrm>
          <a:off x="2077081" y="1340535"/>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2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3</a:t>
          </a:r>
        </a:p>
      </dsp:txBody>
      <dsp:txXfrm>
        <a:off x="2077081" y="1340535"/>
        <a:ext cx="709570" cy="35478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DC8FF4-23D0-49C9-932F-367EA43A19A5}">
      <dsp:nvSpPr>
        <dsp:cNvPr id="0" name=""/>
        <dsp:cNvSpPr/>
      </dsp:nvSpPr>
      <dsp:spPr>
        <a:xfrm>
          <a:off x="1479870" y="1340536"/>
          <a:ext cx="951995" cy="683759"/>
        </a:xfrm>
        <a:custGeom>
          <a:avLst/>
          <a:gdLst/>
          <a:ahLst/>
          <a:cxnLst/>
          <a:rect l="0" t="0" r="0" b="0"/>
          <a:pathLst>
            <a:path>
              <a:moveTo>
                <a:pt x="0" y="697470"/>
              </a:moveTo>
              <a:lnTo>
                <a:pt x="971084"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28CCE6C5-2026-4781-B494-BDBB77F43612}">
      <dsp:nvSpPr>
        <dsp:cNvPr id="0" name=""/>
        <dsp:cNvSpPr/>
      </dsp:nvSpPr>
      <dsp:spPr>
        <a:xfrm>
          <a:off x="1479870" y="726119"/>
          <a:ext cx="951995" cy="1298176"/>
        </a:xfrm>
        <a:custGeom>
          <a:avLst/>
          <a:gdLst/>
          <a:ahLst/>
          <a:cxnLst/>
          <a:rect l="0" t="0" r="0" b="0"/>
          <a:pathLst>
            <a:path>
              <a:moveTo>
                <a:pt x="0" y="1324208"/>
              </a:moveTo>
              <a:lnTo>
                <a:pt x="971084"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F4C20A29-EA04-42CA-A084-E4743416D138}">
      <dsp:nvSpPr>
        <dsp:cNvPr id="0" name=""/>
        <dsp:cNvSpPr/>
      </dsp:nvSpPr>
      <dsp:spPr>
        <a:xfrm>
          <a:off x="527875" y="1340536"/>
          <a:ext cx="951995" cy="683759"/>
        </a:xfrm>
        <a:custGeom>
          <a:avLst/>
          <a:gdLst/>
          <a:ahLst/>
          <a:cxnLst/>
          <a:rect l="0" t="0" r="0" b="0"/>
          <a:pathLst>
            <a:path>
              <a:moveTo>
                <a:pt x="971084" y="697470"/>
              </a:moveTo>
              <a:lnTo>
                <a:pt x="0"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E38EF0F5-AA9C-450C-8E08-AC967303CB13}">
      <dsp:nvSpPr>
        <dsp:cNvPr id="0" name=""/>
        <dsp:cNvSpPr/>
      </dsp:nvSpPr>
      <dsp:spPr>
        <a:xfrm>
          <a:off x="527875" y="726119"/>
          <a:ext cx="951995" cy="1298176"/>
        </a:xfrm>
        <a:custGeom>
          <a:avLst/>
          <a:gdLst/>
          <a:ahLst/>
          <a:cxnLst/>
          <a:rect l="0" t="0" r="0" b="0"/>
          <a:pathLst>
            <a:path>
              <a:moveTo>
                <a:pt x="971084" y="1324208"/>
              </a:moveTo>
              <a:lnTo>
                <a:pt x="0"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4E768D9A-5D33-4282-ACB8-676D7C9134A9}">
      <dsp:nvSpPr>
        <dsp:cNvPr id="0" name=""/>
        <dsp:cNvSpPr/>
      </dsp:nvSpPr>
      <dsp:spPr>
        <a:xfrm>
          <a:off x="1125085" y="1686717"/>
          <a:ext cx="709570" cy="337578"/>
        </a:xfrm>
        <a:prstGeom prst="rect">
          <a:avLst/>
        </a:prstGeom>
        <a:gradFill rotWithShape="0">
          <a:gsLst>
            <a:gs pos="0">
              <a:srgbClr val="15AEEF">
                <a:shade val="60000"/>
                <a:hueOff val="0"/>
                <a:satOff val="0"/>
                <a:lumOff val="0"/>
                <a:alphaOff val="0"/>
                <a:tint val="100000"/>
                <a:shade val="100000"/>
                <a:satMod val="130000"/>
              </a:srgbClr>
            </a:gs>
            <a:gs pos="100000">
              <a:srgbClr val="15AEEF">
                <a:shade val="6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kern="1200" cap="none" normalizeH="0" baseline="0" dirty="0">
              <a:ln/>
              <a:solidFill>
                <a:sysClr val="window" lastClr="FFFFFF"/>
              </a:solidFill>
              <a:effectLst/>
              <a:latin typeface="Franklin Gothic Medium" pitchFamily="34" charset="0"/>
              <a:ea typeface="+mn-ea"/>
              <a:cs typeface="Arial" pitchFamily="34" charset="0"/>
            </a:rPr>
            <a:t>Memory</a:t>
          </a:r>
          <a:endParaRPr kumimoji="0" lang="en-US" sz="1800" b="0" i="0" u="none" strike="noStrike" kern="1200" cap="none" normalizeH="0" baseline="0" dirty="0">
            <a:ln/>
            <a:solidFill>
              <a:sysClr val="window" lastClr="FFFFFF"/>
            </a:solidFill>
            <a:effectLst/>
            <a:latin typeface="Franklin Gothic Medium" pitchFamily="34" charset="0"/>
            <a:ea typeface="+mn-ea"/>
            <a:cs typeface="Arial" pitchFamily="34" charset="0"/>
          </a:endParaRPr>
        </a:p>
      </dsp:txBody>
      <dsp:txXfrm>
        <a:off x="1125085" y="1686717"/>
        <a:ext cx="709570" cy="337578"/>
      </dsp:txXfrm>
    </dsp:sp>
    <dsp:sp modelId="{BA979EF0-F577-453D-B0F7-F9814923326E}">
      <dsp:nvSpPr>
        <dsp:cNvPr id="0" name=""/>
        <dsp:cNvSpPr/>
      </dsp:nvSpPr>
      <dsp:spPr>
        <a:xfrm>
          <a:off x="173090" y="726119"/>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4</a:t>
          </a:r>
          <a:endParaRPr kumimoji="0" lang="en-US" sz="11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endParaRPr>
        </a:p>
      </dsp:txBody>
      <dsp:txXfrm>
        <a:off x="173090" y="726119"/>
        <a:ext cx="709570" cy="354785"/>
      </dsp:txXfrm>
    </dsp:sp>
    <dsp:sp modelId="{DFF80925-FDD7-4B50-A9C2-C4E69E4A4EA1}">
      <dsp:nvSpPr>
        <dsp:cNvPr id="0" name=""/>
        <dsp:cNvSpPr/>
      </dsp:nvSpPr>
      <dsp:spPr>
        <a:xfrm>
          <a:off x="173090" y="1340536"/>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5</a:t>
          </a:r>
          <a:endParaRPr kumimoji="0" lang="en-US" sz="12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endParaRPr>
        </a:p>
      </dsp:txBody>
      <dsp:txXfrm>
        <a:off x="173090" y="1340536"/>
        <a:ext cx="709570" cy="354785"/>
      </dsp:txXfrm>
    </dsp:sp>
    <dsp:sp modelId="{567716C5-C7FF-48D8-9391-8BAB0787B4CA}">
      <dsp:nvSpPr>
        <dsp:cNvPr id="0" name=""/>
        <dsp:cNvSpPr/>
      </dsp:nvSpPr>
      <dsp:spPr>
        <a:xfrm>
          <a:off x="2077080" y="726119"/>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6</a:t>
          </a:r>
          <a:endParaRPr kumimoji="0" lang="en-US" sz="12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endParaRPr>
        </a:p>
      </dsp:txBody>
      <dsp:txXfrm>
        <a:off x="2077080" y="726119"/>
        <a:ext cx="709570" cy="354785"/>
      </dsp:txXfrm>
    </dsp:sp>
    <dsp:sp modelId="{CE0AA596-6A2A-4114-9BE9-34A64E0FB1FE}">
      <dsp:nvSpPr>
        <dsp:cNvPr id="0" name=""/>
        <dsp:cNvSpPr/>
      </dsp:nvSpPr>
      <dsp:spPr>
        <a:xfrm>
          <a:off x="2077080" y="1340536"/>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7</a:t>
          </a:r>
          <a:endParaRPr kumimoji="0" lang="en-US" sz="12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endParaRPr>
        </a:p>
      </dsp:txBody>
      <dsp:txXfrm>
        <a:off x="2077080" y="1340536"/>
        <a:ext cx="709570" cy="35478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C70A63-F036-470A-B70C-7796FB732D31}">
      <dsp:nvSpPr>
        <dsp:cNvPr id="0" name=""/>
        <dsp:cNvSpPr/>
      </dsp:nvSpPr>
      <dsp:spPr>
        <a:xfrm>
          <a:off x="0" y="785741"/>
          <a:ext cx="10880726" cy="895269"/>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For systems reporting eight or more CPUs per NUMA node.</a:t>
          </a:r>
          <a:endParaRPr lang="en-US" sz="2100" kern="1200" dirty="0"/>
        </a:p>
      </dsp:txBody>
      <dsp:txXfrm>
        <a:off x="43703" y="829444"/>
        <a:ext cx="10793320" cy="807863"/>
      </dsp:txXfrm>
    </dsp:sp>
    <dsp:sp modelId="{FC79623A-3003-4229-BE4B-9488B4D34532}">
      <dsp:nvSpPr>
        <dsp:cNvPr id="0" name=""/>
        <dsp:cNvSpPr/>
      </dsp:nvSpPr>
      <dsp:spPr>
        <a:xfrm>
          <a:off x="0" y="1741490"/>
          <a:ext cx="10880726" cy="895269"/>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At startup, SQL Server 2016 interrogates the hardware layout and automatically configures Soft NUMA.</a:t>
          </a:r>
          <a:endParaRPr lang="en-US" sz="2100" kern="1200" dirty="0"/>
        </a:p>
      </dsp:txBody>
      <dsp:txXfrm>
        <a:off x="43703" y="1785193"/>
        <a:ext cx="10793320" cy="807863"/>
      </dsp:txXfrm>
    </dsp:sp>
    <dsp:sp modelId="{91D6D177-BAA9-46E2-82C1-630CFBE1023F}">
      <dsp:nvSpPr>
        <dsp:cNvPr id="0" name=""/>
        <dsp:cNvSpPr/>
      </dsp:nvSpPr>
      <dsp:spPr>
        <a:xfrm>
          <a:off x="0" y="2697239"/>
          <a:ext cx="10880726" cy="895269"/>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The Automatic Soft NUMA logic considers logical CPU ratios, total CPU counts and other factors, attempting to create soft, logical nodes containing 8 or fewer CPUs each.</a:t>
          </a:r>
          <a:endParaRPr lang="en-US" sz="2100" kern="1200" dirty="0"/>
        </a:p>
      </dsp:txBody>
      <dsp:txXfrm>
        <a:off x="43703" y="2740942"/>
        <a:ext cx="10793320" cy="807863"/>
      </dsp:txXfrm>
    </dsp:sp>
    <dsp:sp modelId="{28C25AE6-6E48-45F4-BE13-0C7B459C5E69}">
      <dsp:nvSpPr>
        <dsp:cNvPr id="0" name=""/>
        <dsp:cNvSpPr/>
      </dsp:nvSpPr>
      <dsp:spPr>
        <a:xfrm>
          <a:off x="0" y="3649661"/>
          <a:ext cx="10880726" cy="895269"/>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It can provide a gain of up to 20%.</a:t>
          </a:r>
          <a:endParaRPr lang="en-US" sz="2100" kern="1200" dirty="0"/>
        </a:p>
      </dsp:txBody>
      <dsp:txXfrm>
        <a:off x="43703" y="3693364"/>
        <a:ext cx="10793320" cy="80786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2B7ED2-9867-4642-BDE7-604B1C053C15}">
      <dsp:nvSpPr>
        <dsp:cNvPr id="0" name=""/>
        <dsp:cNvSpPr/>
      </dsp:nvSpPr>
      <dsp:spPr>
        <a:xfrm>
          <a:off x="0" y="4219"/>
          <a:ext cx="10880726" cy="139031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4606710-1109-4520-889D-3C6F78EA936B}">
      <dsp:nvSpPr>
        <dsp:cNvPr id="0" name=""/>
        <dsp:cNvSpPr/>
      </dsp:nvSpPr>
      <dsp:spPr>
        <a:xfrm>
          <a:off x="420569" y="317040"/>
          <a:ext cx="765419" cy="76467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7CE52B-B1BA-46ED-BAC1-729D9E500C68}">
      <dsp:nvSpPr>
        <dsp:cNvPr id="0" name=""/>
        <dsp:cNvSpPr/>
      </dsp:nvSpPr>
      <dsp:spPr>
        <a:xfrm>
          <a:off x="1606559" y="4219"/>
          <a:ext cx="9168144" cy="13916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7285" tIns="147285" rIns="147285" bIns="147285" numCol="1" spcCol="1270" anchor="ctr" anchorCtr="0">
          <a:noAutofit/>
        </a:bodyPr>
        <a:lstStyle/>
        <a:p>
          <a:pPr marL="0" lvl="0" indent="0" algn="l" defTabSz="1066800">
            <a:lnSpc>
              <a:spcPct val="100000"/>
            </a:lnSpc>
            <a:spcBef>
              <a:spcPct val="0"/>
            </a:spcBef>
            <a:spcAft>
              <a:spcPct val="35000"/>
            </a:spcAft>
            <a:buNone/>
          </a:pPr>
          <a:r>
            <a:rPr lang="en-US" sz="2400" kern="1200" dirty="0"/>
            <a:t>Automatic Soft NUMA is Hyperthreaded-aware</a:t>
          </a:r>
        </a:p>
      </dsp:txBody>
      <dsp:txXfrm>
        <a:off x="1606559" y="4219"/>
        <a:ext cx="9168144" cy="1391672"/>
      </dsp:txXfrm>
    </dsp:sp>
    <dsp:sp modelId="{1CAF912A-E4D0-48F5-A9DF-87B696C52C82}">
      <dsp:nvSpPr>
        <dsp:cNvPr id="0" name=""/>
        <dsp:cNvSpPr/>
      </dsp:nvSpPr>
      <dsp:spPr>
        <a:xfrm>
          <a:off x="0" y="1713988"/>
          <a:ext cx="10880726" cy="139031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E86E841-D730-461A-9432-5088B8989E37}">
      <dsp:nvSpPr>
        <dsp:cNvPr id="0" name=""/>
        <dsp:cNvSpPr/>
      </dsp:nvSpPr>
      <dsp:spPr>
        <a:xfrm>
          <a:off x="420569" y="2026809"/>
          <a:ext cx="765419" cy="76467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3774FDC-50EE-4C69-AD29-8F801130A40A}">
      <dsp:nvSpPr>
        <dsp:cNvPr id="0" name=""/>
        <dsp:cNvSpPr/>
      </dsp:nvSpPr>
      <dsp:spPr>
        <a:xfrm>
          <a:off x="1606559" y="1713988"/>
          <a:ext cx="4896326" cy="13916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7285" tIns="147285" rIns="147285" bIns="147285" numCol="1" spcCol="1270" anchor="ctr" anchorCtr="0">
          <a:noAutofit/>
        </a:bodyPr>
        <a:lstStyle/>
        <a:p>
          <a:pPr marL="0" lvl="0" indent="0" algn="l" defTabSz="1066800">
            <a:lnSpc>
              <a:spcPct val="100000"/>
            </a:lnSpc>
            <a:spcBef>
              <a:spcPct val="0"/>
            </a:spcBef>
            <a:spcAft>
              <a:spcPct val="35000"/>
            </a:spcAft>
            <a:buNone/>
          </a:pPr>
          <a:r>
            <a:rPr lang="en-US" sz="2400" kern="1200" dirty="0"/>
            <a:t>Check the errorlog for:</a:t>
          </a:r>
          <a:r>
            <a:rPr lang="en-US" sz="2300" kern="1200" dirty="0"/>
            <a:t> </a:t>
          </a:r>
        </a:p>
      </dsp:txBody>
      <dsp:txXfrm>
        <a:off x="1606559" y="1713988"/>
        <a:ext cx="4896326" cy="1391672"/>
      </dsp:txXfrm>
    </dsp:sp>
    <dsp:sp modelId="{0EA5ED5C-18EB-4AE4-8CD3-F8FDF9EE493C}">
      <dsp:nvSpPr>
        <dsp:cNvPr id="0" name=""/>
        <dsp:cNvSpPr/>
      </dsp:nvSpPr>
      <dsp:spPr>
        <a:xfrm>
          <a:off x="6502886" y="1713988"/>
          <a:ext cx="4271818" cy="13916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7285" tIns="147285" rIns="147285" bIns="147285" numCol="1" spcCol="1270" anchor="ctr" anchorCtr="0">
          <a:noAutofit/>
        </a:bodyPr>
        <a:lstStyle/>
        <a:p>
          <a:pPr marL="0" lvl="0" indent="0" algn="l" defTabSz="711200">
            <a:lnSpc>
              <a:spcPct val="100000"/>
            </a:lnSpc>
            <a:spcBef>
              <a:spcPct val="0"/>
            </a:spcBef>
            <a:spcAft>
              <a:spcPct val="35000"/>
            </a:spcAft>
            <a:buNone/>
          </a:pPr>
          <a:r>
            <a:rPr lang="en-US" sz="1600" i="1" kern="1200" dirty="0"/>
            <a:t>Automatic soft-NUMA was enabled because SQL Server has detected hardware NUMA nodes with greater than 8 logical processors.</a:t>
          </a:r>
          <a:endParaRPr lang="en-US" sz="1600" kern="1200" dirty="0"/>
        </a:p>
      </dsp:txBody>
      <dsp:txXfrm>
        <a:off x="6502886" y="1713988"/>
        <a:ext cx="4271818" cy="1391672"/>
      </dsp:txXfrm>
    </dsp:sp>
    <dsp:sp modelId="{53CBC0EF-7E62-4556-92F1-D2705C0981A5}">
      <dsp:nvSpPr>
        <dsp:cNvPr id="0" name=""/>
        <dsp:cNvSpPr/>
      </dsp:nvSpPr>
      <dsp:spPr>
        <a:xfrm>
          <a:off x="0" y="3423757"/>
          <a:ext cx="10880726" cy="139031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22F233A-D30F-4BFB-8F73-3EA1A466A016}">
      <dsp:nvSpPr>
        <dsp:cNvPr id="0" name=""/>
        <dsp:cNvSpPr/>
      </dsp:nvSpPr>
      <dsp:spPr>
        <a:xfrm>
          <a:off x="420980" y="3736578"/>
          <a:ext cx="765419" cy="76467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F698DD3-B944-4057-8AE6-6D7C38EEA000}">
      <dsp:nvSpPr>
        <dsp:cNvPr id="0" name=""/>
        <dsp:cNvSpPr/>
      </dsp:nvSpPr>
      <dsp:spPr>
        <a:xfrm>
          <a:off x="1607381" y="3423757"/>
          <a:ext cx="9168144" cy="13916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7285" tIns="147285" rIns="147285" bIns="147285" numCol="1" spcCol="1270" anchor="ctr" anchorCtr="0">
          <a:noAutofit/>
        </a:bodyPr>
        <a:lstStyle/>
        <a:p>
          <a:pPr marL="0" lvl="0" indent="0" algn="l" defTabSz="1066800">
            <a:lnSpc>
              <a:spcPct val="100000"/>
            </a:lnSpc>
            <a:spcBef>
              <a:spcPct val="0"/>
            </a:spcBef>
            <a:spcAft>
              <a:spcPct val="35000"/>
            </a:spcAft>
            <a:buNone/>
          </a:pPr>
          <a:r>
            <a:rPr lang="en-US" sz="2400" kern="1200" dirty="0"/>
            <a:t>Check </a:t>
          </a:r>
          <a:r>
            <a:rPr lang="en-US" sz="2400" b="1" kern="1200" dirty="0"/>
            <a:t>softnuma_configuration_desc</a:t>
          </a:r>
          <a:r>
            <a:rPr lang="en-US" sz="2400" kern="1200" dirty="0"/>
            <a:t> column in sys.dm_os_sys_info for one of the three values: </a:t>
          </a:r>
          <a:r>
            <a:rPr lang="en-US" sz="2400" b="1" kern="1200" dirty="0"/>
            <a:t>OFF / ON / MANUAL</a:t>
          </a:r>
          <a:endParaRPr lang="en-US" sz="2400" kern="1200" dirty="0"/>
        </a:p>
      </dsp:txBody>
      <dsp:txXfrm>
        <a:off x="1607381" y="3423757"/>
        <a:ext cx="9168144" cy="139167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C8588C-6A22-4D6D-B418-2E68FC92F473}">
      <dsp:nvSpPr>
        <dsp:cNvPr id="0" name=""/>
        <dsp:cNvSpPr/>
      </dsp:nvSpPr>
      <dsp:spPr>
        <a:xfrm>
          <a:off x="0" y="23852"/>
          <a:ext cx="11653522" cy="11232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dirty="0"/>
            <a:t>Memory Brokers – </a:t>
          </a:r>
          <a:r>
            <a:rPr lang="en-US" sz="2000" kern="1200" baseline="0" dirty="0"/>
            <a:t>Distributes memory across different components based on demands</a:t>
          </a:r>
          <a:endParaRPr lang="en-US" sz="2000" kern="1200" dirty="0"/>
        </a:p>
      </dsp:txBody>
      <dsp:txXfrm>
        <a:off x="54830" y="78682"/>
        <a:ext cx="11543862" cy="1013540"/>
      </dsp:txXfrm>
    </dsp:sp>
    <dsp:sp modelId="{0FF8E1ED-B577-469D-87E1-4C947C86B08A}">
      <dsp:nvSpPr>
        <dsp:cNvPr id="0" name=""/>
        <dsp:cNvSpPr/>
      </dsp:nvSpPr>
      <dsp:spPr>
        <a:xfrm>
          <a:off x="0" y="1319852"/>
          <a:ext cx="11653522" cy="1123200"/>
        </a:xfrm>
        <a:prstGeom prst="roundRect">
          <a:avLst/>
        </a:prstGeom>
        <a:solidFill>
          <a:schemeClr val="accent3">
            <a:hueOff val="672623"/>
            <a:satOff val="0"/>
            <a:lumOff val="333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a:t>Memory Clerks</a:t>
          </a:r>
          <a:r>
            <a:rPr lang="en-US" sz="2000" kern="1200" baseline="0"/>
            <a:t> – Component that accesses memory node interfaces for allocating memory</a:t>
          </a:r>
          <a:endParaRPr lang="en-US" sz="2000" kern="1200"/>
        </a:p>
      </dsp:txBody>
      <dsp:txXfrm>
        <a:off x="54830" y="1374682"/>
        <a:ext cx="11543862" cy="1013540"/>
      </dsp:txXfrm>
    </dsp:sp>
    <dsp:sp modelId="{B5EFD093-D85F-4A5E-BCA1-EB681C33D2E2}">
      <dsp:nvSpPr>
        <dsp:cNvPr id="0" name=""/>
        <dsp:cNvSpPr/>
      </dsp:nvSpPr>
      <dsp:spPr>
        <a:xfrm>
          <a:off x="0" y="2615852"/>
          <a:ext cx="11653522" cy="1123200"/>
        </a:xfrm>
        <a:prstGeom prst="roundRect">
          <a:avLst/>
        </a:prstGeom>
        <a:solidFill>
          <a:schemeClr val="accent3">
            <a:hueOff val="1345247"/>
            <a:satOff val="0"/>
            <a:lumOff val="666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dirty="0"/>
            <a:t>Memory Nodes (NUMA)</a:t>
          </a:r>
          <a:r>
            <a:rPr lang="en-US" sz="2000" kern="1200" baseline="0" dirty="0"/>
            <a:t> – Memory that represents how memory is consumed across NUMA nodes</a:t>
          </a:r>
          <a:endParaRPr lang="en-US" sz="2000" kern="1200" dirty="0"/>
        </a:p>
      </dsp:txBody>
      <dsp:txXfrm>
        <a:off x="54830" y="2670682"/>
        <a:ext cx="11543862" cy="1013540"/>
      </dsp:txXfrm>
    </dsp:sp>
    <dsp:sp modelId="{77970BD6-EC0B-4C6A-BB93-32048BB7C6E0}">
      <dsp:nvSpPr>
        <dsp:cNvPr id="0" name=""/>
        <dsp:cNvSpPr/>
      </dsp:nvSpPr>
      <dsp:spPr>
        <a:xfrm>
          <a:off x="0" y="3911852"/>
          <a:ext cx="11653522" cy="1123200"/>
        </a:xfrm>
        <a:prstGeom prst="round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dirty="0"/>
            <a:t>Memory Pools (Resource Governor)</a:t>
          </a:r>
          <a:r>
            <a:rPr lang="en-US" sz="2000" kern="1200" baseline="0" dirty="0"/>
            <a:t> – Memory that represents how memory is organized by Resource Governor pool / workload group (internal for background and default for user)</a:t>
          </a:r>
          <a:endParaRPr lang="en-US" sz="2000" kern="1200" dirty="0"/>
        </a:p>
      </dsp:txBody>
      <dsp:txXfrm>
        <a:off x="54830" y="3966682"/>
        <a:ext cx="11543862" cy="101354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F5DDD0-5D7B-4D4B-BB74-2B96F76BF5F1}">
      <dsp:nvSpPr>
        <dsp:cNvPr id="0" name=""/>
        <dsp:cNvSpPr/>
      </dsp:nvSpPr>
      <dsp:spPr>
        <a:xfrm>
          <a:off x="0" y="32834"/>
          <a:ext cx="10880726" cy="8494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Max Server Memory defines the maximum amount of memory the SQL Server process can allocate.</a:t>
          </a:r>
        </a:p>
      </dsp:txBody>
      <dsp:txXfrm>
        <a:off x="41465" y="74299"/>
        <a:ext cx="10797796" cy="766490"/>
      </dsp:txXfrm>
    </dsp:sp>
    <dsp:sp modelId="{3CB7EDBC-18B4-43A0-A3CA-94D3916E92A4}">
      <dsp:nvSpPr>
        <dsp:cNvPr id="0" name=""/>
        <dsp:cNvSpPr/>
      </dsp:nvSpPr>
      <dsp:spPr>
        <a:xfrm>
          <a:off x="0" y="1008974"/>
          <a:ext cx="10880726" cy="849420"/>
        </a:xfrm>
        <a:prstGeom prst="roundRect">
          <a:avLst/>
        </a:prstGeom>
        <a:solidFill>
          <a:schemeClr val="accent3">
            <a:hueOff val="504467"/>
            <a:satOff val="0"/>
            <a:lumOff val="25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Min Server Memory defines the level down to which SQL Server may trim in the event of memory pressure.</a:t>
          </a:r>
        </a:p>
      </dsp:txBody>
      <dsp:txXfrm>
        <a:off x="41465" y="1050439"/>
        <a:ext cx="10797796" cy="766490"/>
      </dsp:txXfrm>
    </dsp:sp>
    <dsp:sp modelId="{9799D988-3AED-47CB-9F9E-21C225D2D4E8}">
      <dsp:nvSpPr>
        <dsp:cNvPr id="0" name=""/>
        <dsp:cNvSpPr/>
      </dsp:nvSpPr>
      <dsp:spPr>
        <a:xfrm>
          <a:off x="0" y="1985115"/>
          <a:ext cx="10880726" cy="849420"/>
        </a:xfrm>
        <a:prstGeom prst="roundRect">
          <a:avLst/>
        </a:prstGeom>
        <a:solidFill>
          <a:schemeClr val="accent3">
            <a:hueOff val="1008935"/>
            <a:satOff val="0"/>
            <a:lumOff val="5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Memory is allocated as-needed after the SQL Server service startup.</a:t>
          </a:r>
        </a:p>
      </dsp:txBody>
      <dsp:txXfrm>
        <a:off x="41465" y="2026580"/>
        <a:ext cx="10797796" cy="766490"/>
      </dsp:txXfrm>
    </dsp:sp>
    <dsp:sp modelId="{BAA52ED6-F619-4148-AE53-94BC7535C450}">
      <dsp:nvSpPr>
        <dsp:cNvPr id="0" name=""/>
        <dsp:cNvSpPr/>
      </dsp:nvSpPr>
      <dsp:spPr>
        <a:xfrm>
          <a:off x="0" y="2961255"/>
          <a:ext cx="10880726" cy="849420"/>
        </a:xfrm>
        <a:prstGeom prst="roundRect">
          <a:avLst/>
        </a:prstGeom>
        <a:solidFill>
          <a:schemeClr val="accent3">
            <a:hueOff val="1513402"/>
            <a:satOff val="0"/>
            <a:lumOff val="75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After memory is acquired, it will not be released unless the operating system reports memory pressure.</a:t>
          </a:r>
        </a:p>
      </dsp:txBody>
      <dsp:txXfrm>
        <a:off x="41465" y="3002720"/>
        <a:ext cx="10797796" cy="766490"/>
      </dsp:txXfrm>
    </dsp:sp>
    <dsp:sp modelId="{040094CC-D596-4698-A375-8DA3DB6B00AD}">
      <dsp:nvSpPr>
        <dsp:cNvPr id="0" name=""/>
        <dsp:cNvSpPr/>
      </dsp:nvSpPr>
      <dsp:spPr>
        <a:xfrm>
          <a:off x="0" y="3937395"/>
          <a:ext cx="10880726" cy="849420"/>
        </a:xfrm>
        <a:prstGeom prst="round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In the event of pressure, SQL Server will reduce its memory footprint to avoid operating system paging.</a:t>
          </a:r>
        </a:p>
      </dsp:txBody>
      <dsp:txXfrm>
        <a:off x="41465" y="3978860"/>
        <a:ext cx="10797796" cy="76649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29.01.2024</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dirty="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1/29/2024</a:t>
            </a:fld>
            <a:endParaRPr lang="en-US" noProof="0"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a:p>
            <a:pPr lvl="5"/>
            <a:r>
              <a:rPr lang="en-US" noProof="0" dirty="0"/>
              <a:t>6</a:t>
            </a:r>
          </a:p>
          <a:p>
            <a:pPr lvl="6"/>
            <a:r>
              <a:rPr lang="en-US" noProof="0" dirty="0"/>
              <a:t>7</a:t>
            </a:r>
          </a:p>
          <a:p>
            <a:pPr lvl="7"/>
            <a:r>
              <a:rPr lang="en-US" noProof="0" dirty="0"/>
              <a:t>8</a:t>
            </a:r>
          </a:p>
          <a:p>
            <a:pPr lvl="8"/>
            <a:r>
              <a:rPr lang="en-US" noProof="0" dirty="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dirty="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notesMaster" Target="../notesMasters/notesMaster1.xml"/><Relationship Id="rId1" Type="http://schemas.openxmlformats.org/officeDocument/2006/relationships/tags" Target="../tags/tag22.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ags" Target="../tags/tag24.xml"/><Relationship Id="rId6" Type="http://schemas.openxmlformats.org/officeDocument/2006/relationships/hyperlink" Target="https://support.microsoft.com/en-us/help/2806535/recommendations-and-guidelines-for-the-max-degree-of-parallelism-confi" TargetMode="External"/><Relationship Id="rId5" Type="http://schemas.openxmlformats.org/officeDocument/2006/relationships/hyperlink" Target="https://docs.microsoft.com/en-us/previous-versions/sql/sql-server-2008-r2/ms178144(v=sql.105)" TargetMode="External"/><Relationship Id="rId4" Type="http://schemas.openxmlformats.org/officeDocument/2006/relationships/hyperlink" Target="https://techcommunity.microsoft.com/t5/sql-server-support/sql-server-clarifying-the-numa-configuration-information/ba-p/316753" TargetMode="Externa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support.microsoft.com/kb/2819662" TargetMode="External"/><Relationship Id="rId3" Type="http://schemas.openxmlformats.org/officeDocument/2006/relationships/slide" Target="../slides/slide15.xml"/><Relationship Id="rId7" Type="http://schemas.openxmlformats.org/officeDocument/2006/relationships/hyperlink" Target="http://technet.microsoft.com/en-us/library/hh831410.aspx#BKMK_vNUMA" TargetMode="External"/><Relationship Id="rId2" Type="http://schemas.openxmlformats.org/officeDocument/2006/relationships/notesMaster" Target="../notesMasters/notesMaster1.xml"/><Relationship Id="rId1" Type="http://schemas.openxmlformats.org/officeDocument/2006/relationships/tags" Target="../tags/tag26.xml"/><Relationship Id="rId6" Type="http://schemas.openxmlformats.org/officeDocument/2006/relationships/hyperlink" Target="http://support.microsoft.com/kb/2806535" TargetMode="External"/><Relationship Id="rId5" Type="http://schemas.openxmlformats.org/officeDocument/2006/relationships/hyperlink" Target="http://msdn.microsoft.com/en-us/library/ms178144.aspx" TargetMode="External"/><Relationship Id="rId4" Type="http://schemas.openxmlformats.org/officeDocument/2006/relationships/hyperlink" Target="http://technet.microsoft.com/en-us/query/aa363804" TargetMode="External"/><Relationship Id="rId9" Type="http://schemas.openxmlformats.org/officeDocument/2006/relationships/hyperlink" Target="http://support.microsoft.com/kb/2688697"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notesMaster" Target="../notesMasters/notesMaster1.xml"/><Relationship Id="rId1" Type="http://schemas.openxmlformats.org/officeDocument/2006/relationships/tags" Target="../tags/tag36.xml"/><Relationship Id="rId4" Type="http://schemas.openxmlformats.org/officeDocument/2006/relationships/hyperlink" Target="http://support.microsoft.com/kb/2663912"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notesMaster" Target="../notesMasters/notesMaster1.xml"/><Relationship Id="rId1" Type="http://schemas.openxmlformats.org/officeDocument/2006/relationships/tags" Target="../tags/tag38.xml"/></Relationships>
</file>

<file path=ppt/notesSlides/_rels/notesSlide21.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notesMaster" Target="../notesMasters/notesMaster1.xml"/><Relationship Id="rId1" Type="http://schemas.openxmlformats.org/officeDocument/2006/relationships/tags" Target="../tags/tag40.xml"/><Relationship Id="rId4" Type="http://schemas.openxmlformats.org/officeDocument/2006/relationships/hyperlink" Target="https://docs.microsoft.com/en-us/sql/database-engine/configure-windows/server-memory-server-configuration-options?view=sql-server-ver15&amp;viewFallbackFrom=sql-server-ver15%22" TargetMode="External"/></Relationships>
</file>

<file path=ppt/notesSlides/_rels/notesSlide22.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notesMaster" Target="../notesMasters/notesMaster1.xml"/><Relationship Id="rId1" Type="http://schemas.openxmlformats.org/officeDocument/2006/relationships/tags" Target="../tags/tag42.xml"/><Relationship Id="rId4" Type="http://schemas.openxmlformats.org/officeDocument/2006/relationships/hyperlink" Target="https://docs.microsoft.com/en-us/sql/database-engine/configure-windows/server-memory-server-configuration-options?view=sql-server-ver15&amp;viewFallbackFrom=sql-server-ver15%22"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slide" Target="../slides/slide30.xml"/><Relationship Id="rId2" Type="http://schemas.openxmlformats.org/officeDocument/2006/relationships/notesMaster" Target="../notesMasters/notesMaster1.xml"/><Relationship Id="rId1" Type="http://schemas.openxmlformats.org/officeDocument/2006/relationships/tags" Target="../tags/tag47.xml"/><Relationship Id="rId5" Type="http://schemas.openxmlformats.org/officeDocument/2006/relationships/hyperlink" Target="https://docs.microsoft.com/en-us/previous-versions/sql/sql-server-2008-r2/ms345403(v=sql.105)" TargetMode="External"/><Relationship Id="rId4" Type="http://schemas.openxmlformats.org/officeDocument/2006/relationships/hyperlink" Target="https://docs.microsoft.com/en-us/previous-versions/sql/sql-server-2008-r2/aa337525(v=sql.105)" TargetMode="External"/></Relationships>
</file>

<file path=ppt/notesSlides/_rels/notesSlide26.xml.rels><?xml version="1.0" encoding="UTF-8" standalone="yes"?>
<Relationships xmlns="http://schemas.openxmlformats.org/package/2006/relationships"><Relationship Id="rId3" Type="http://schemas.openxmlformats.org/officeDocument/2006/relationships/slide" Target="../slides/slide31.xml"/><Relationship Id="rId2" Type="http://schemas.openxmlformats.org/officeDocument/2006/relationships/notesMaster" Target="../notesMasters/notesMaster1.xml"/><Relationship Id="rId1" Type="http://schemas.openxmlformats.org/officeDocument/2006/relationships/tags" Target="../tags/tag49.xml"/><Relationship Id="rId6" Type="http://schemas.openxmlformats.org/officeDocument/2006/relationships/hyperlink" Target="http://blogs.msdn.com/b/psssql/archive/2009/06/05/sql-server-and-large-pages-explained.aspx" TargetMode="External"/><Relationship Id="rId5" Type="http://schemas.openxmlformats.org/officeDocument/2006/relationships/hyperlink" Target="https://docs.microsoft.com/en-us/sql/database-engine/configure-windows/enable-the-lock-pages-in-memory-option-windows?redirectedfrom=MSDN&amp;view=sql-server-ver15" TargetMode="External"/><Relationship Id="rId4" Type="http://schemas.openxmlformats.org/officeDocument/2006/relationships/hyperlink" Target="http://support.microsoft.com/kb/2659143" TargetMode="Externa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ocs.microsoft.com/en-us/previous-versions/sql/sql-server-2008-r2/aa337560(v=sql.105)" TargetMode="External"/><Relationship Id="rId2" Type="http://schemas.openxmlformats.org/officeDocument/2006/relationships/slide" Target="../slides/slide32.xml"/><Relationship Id="rId1" Type="http://schemas.openxmlformats.org/officeDocument/2006/relationships/notesMaster" Target="../notesMasters/notesMaster1.xml"/><Relationship Id="rId6" Type="http://schemas.openxmlformats.org/officeDocument/2006/relationships/hyperlink" Target="https://technet.microsoft.com/en-us/library/ms175048(v=sql.105).aspx" TargetMode="External"/><Relationship Id="rId5" Type="http://schemas.openxmlformats.org/officeDocument/2006/relationships/hyperlink" Target="https://technet.microsoft.com/en-us/library/aa337560(v=sql.105).aspx" TargetMode="External"/><Relationship Id="rId4" Type="http://schemas.openxmlformats.org/officeDocument/2006/relationships/hyperlink" Target="https://technet.microsoft.com/en-us/library/ms191475(v=sql.105).aspx" TargetMode="External"/></Relationships>
</file>

<file path=ppt/notesSlides/_rels/notesSlide28.xml.rels><?xml version="1.0" encoding="UTF-8" standalone="yes"?>
<Relationships xmlns="http://schemas.openxmlformats.org/package/2006/relationships"><Relationship Id="rId3" Type="http://schemas.openxmlformats.org/officeDocument/2006/relationships/slide" Target="../slides/slide33.xml"/><Relationship Id="rId2" Type="http://schemas.openxmlformats.org/officeDocument/2006/relationships/notesMaster" Target="../notesMasters/notesMaster1.xml"/><Relationship Id="rId1" Type="http://schemas.openxmlformats.org/officeDocument/2006/relationships/tags" Target="../tags/tag51.xml"/></Relationships>
</file>

<file path=ppt/notesSlides/_rels/notesSlide29.xml.rels><?xml version="1.0" encoding="UTF-8" standalone="yes"?>
<Relationships xmlns="http://schemas.openxmlformats.org/package/2006/relationships"><Relationship Id="rId3" Type="http://schemas.openxmlformats.org/officeDocument/2006/relationships/slide" Target="../slides/slide34.xml"/><Relationship Id="rId2" Type="http://schemas.openxmlformats.org/officeDocument/2006/relationships/notesMaster" Target="../notesMasters/notesMaster1.xml"/><Relationship Id="rId1" Type="http://schemas.openxmlformats.org/officeDocument/2006/relationships/tags" Target="../tags/tag53.xml"/><Relationship Id="rId6" Type="http://schemas.openxmlformats.org/officeDocument/2006/relationships/hyperlink" Target="https://www.youtube.com/watch?v=4GvU106Xiag" TargetMode="External"/><Relationship Id="rId5" Type="http://schemas.openxmlformats.org/officeDocument/2006/relationships/hyperlink" Target="https://learn.microsoft.com/en-US/troubleshoot/sql/database-engine/performance/buffer-pool-scan-runs-slowly-large-memory-machines" TargetMode="External"/><Relationship Id="rId4" Type="http://schemas.openxmlformats.org/officeDocument/2006/relationships/hyperlink" Target="https://cloudblogs.microsoft.com/sqlserver/2022/07/07/improve-scalability-with-buffer-pool-parallel-scan-in-sql-server-2022/"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slide" Target="../slides/slide39.xml"/><Relationship Id="rId2" Type="http://schemas.openxmlformats.org/officeDocument/2006/relationships/notesMaster" Target="../notesMasters/notesMaster1.xml"/><Relationship Id="rId1" Type="http://schemas.openxmlformats.org/officeDocument/2006/relationships/tags" Target="../tags/tag59.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support.microsoft.com/en-us/help/907877/how-to-use-the-dbcc-memorystatus-command-to-monitor-memory-usage-on-sq"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os-loaded-modules-transact-sql?view=sql-server-ver15" TargetMode="External"/><Relationship Id="rId2" Type="http://schemas.openxmlformats.org/officeDocument/2006/relationships/slide" Target="../slides/slide41.xml"/><Relationship Id="rId1" Type="http://schemas.openxmlformats.org/officeDocument/2006/relationships/notesMaster" Target="../notesMasters/notesMaster1.xml"/><Relationship Id="rId4" Type="http://schemas.openxmlformats.org/officeDocument/2006/relationships/hyperlink" Target="https://docs.microsoft.com/en-us/sql/relational-databases/system-dynamic-management-views/sys-dm-os-memory-objects-transact-sql?view=sql-server-ver15" TargetMode="Externa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docs.microsoft.com/en-us/sql/relational-databases/extended-events/use-the-system-health-session?view=sql-server-ver15" TargetMode="External"/><Relationship Id="rId2" Type="http://schemas.openxmlformats.org/officeDocument/2006/relationships/slide" Target="../slides/slide42.xml"/><Relationship Id="rId1" Type="http://schemas.openxmlformats.org/officeDocument/2006/relationships/notesMaster" Target="../notesMasters/notesMaster1.xml"/><Relationship Id="rId4" Type="http://schemas.openxmlformats.org/officeDocument/2006/relationships/hyperlink" Target="https://docs.microsoft.com/en-us/archive/blogs/slavao/" TargetMode="Externa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learn.microsoft.com/en-us/sql/database-engine/configure-windows/configure-the-max-degree-of-parallelism-server-configuration-option?view=sql-server-ver16"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support.microsoft.com/en-us/help/2806535/recommendations-and-guidelines-for-the-max-degree-of-parallelism-confi" TargetMode="Externa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16.xml"/><Relationship Id="rId5" Type="http://schemas.openxmlformats.org/officeDocument/2006/relationships/hyperlink" Target="http://technet.microsoft.com/en-us/library/ms188743.aspx" TargetMode="External"/><Relationship Id="rId4" Type="http://schemas.openxmlformats.org/officeDocument/2006/relationships/hyperlink" Target="http://technet.microsoft.com/en-us/library/cc917684.aspx" TargetMode="Externa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18.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a:t>
            </a:fld>
            <a:endParaRPr lang="en-US" noProof="0" dirty="0"/>
          </a:p>
        </p:txBody>
      </p:sp>
    </p:spTree>
    <p:extLst>
      <p:ext uri="{BB962C8B-B14F-4D97-AF65-F5344CB8AC3E}">
        <p14:creationId xmlns:p14="http://schemas.microsoft.com/office/powerpoint/2010/main" val="9339458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One major problem with the symmetric multiprocessing (SMP) architecture in high CPU count systems is the contention on the system bus, sometimes referred to as the </a:t>
            </a:r>
            <a:r>
              <a:rPr lang="en-US" i="1" dirty="0"/>
              <a:t>memory front </a:t>
            </a:r>
            <a:r>
              <a:rPr lang="en-US" dirty="0"/>
              <a:t>or </a:t>
            </a:r>
            <a:r>
              <a:rPr lang="en-US" i="1" dirty="0"/>
              <a:t>front-side bus</a:t>
            </a:r>
            <a:r>
              <a:rPr lang="en-US" dirty="0"/>
              <a:t>. This is because with SMP, all CPUs use the same bus to access memory. The more CPUs that use the bus, the more the contention. Increasing the speed of the system bus has only somewhat alleviated the problem. </a:t>
            </a:r>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7311968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 NUMA was designed to bypass the single bus architecture. </a:t>
            </a:r>
          </a:p>
          <a:p>
            <a:pPr>
              <a:spcAft>
                <a:spcPts val="600"/>
              </a:spcAft>
            </a:pPr>
            <a:r>
              <a:rPr lang="en-US" dirty="0"/>
              <a:t>NUMA architecture groups CPU and Memory into nodes. Nodes include their own CPUs and memory, and in some cases, their own I/O channels. Each node has its own system bus for the CPUs to reference the node memory. There are interconnects between the nodes to allow the memory to be referenced by other nodes. </a:t>
            </a:r>
          </a:p>
          <a:p>
            <a:pPr>
              <a:spcAft>
                <a:spcPts val="600"/>
              </a:spcAft>
            </a:pPr>
            <a:r>
              <a:rPr lang="en-US" dirty="0"/>
              <a:t>Memory local to a node is called local memory. Memory located in another node is referred as foreign or remote memory. Access to foreign memory is often more expensive in time than accessing local memory. The cost of local memory access over the cost of foreign memory access is called the </a:t>
            </a:r>
            <a:r>
              <a:rPr lang="en-US" b="1" dirty="0"/>
              <a:t>NUMA ratio</a:t>
            </a:r>
            <a:r>
              <a:rPr lang="en-US" dirty="0"/>
              <a:t>. A higher NUMA ratio implies a higher performance impact.</a:t>
            </a:r>
          </a:p>
          <a:p>
            <a:pPr>
              <a:spcAft>
                <a:spcPts val="600"/>
              </a:spcAft>
            </a:pPr>
            <a:r>
              <a:rPr lang="en-US" dirty="0"/>
              <a:t>Because foreign memory access is slower than accessing memory local to the node, it is important for resource-intensive applications to be NUMA aware. Relying heavily on foreign memory access will make an application run noticeably slower on NUMA hardware. SQL Server is fully NUMA-aware.</a:t>
            </a:r>
          </a:p>
          <a:p>
            <a:pPr>
              <a:spcAft>
                <a:spcPts val="600"/>
              </a:spcAft>
            </a:pPr>
            <a:r>
              <a:rPr lang="en-US" dirty="0"/>
              <a:t>Currently, most servers on the market have a NUMA hardware configuration. Typically, each socket represents a NUMA node, although some of the newer hardware hosts 2 nodes per socket.</a:t>
            </a:r>
          </a:p>
          <a:p>
            <a:pPr>
              <a:spcAft>
                <a:spcPts val="600"/>
              </a:spcAft>
            </a:pPr>
            <a:r>
              <a:rPr lang="en-US" dirty="0"/>
              <a:t>You can detect if your SQL Server is running on NUMA hardware by examining the startup messages in the SQL Server error log. You will see messages similar to the following:</a:t>
            </a:r>
          </a:p>
          <a:p>
            <a:pPr>
              <a:spcAft>
                <a:spcPts val="600"/>
              </a:spcAft>
            </a:pPr>
            <a:r>
              <a:rPr lang="en-US" i="1" dirty="0"/>
              <a:t>Node configuration: node 0: CPU mask: 0x000000000000000f:0 Active CPU mask: 0x000000000000000f:0. This message provides a description of the NUMA configuration for this computer. This is an informational message only. No user action is required.</a:t>
            </a:r>
          </a:p>
          <a:p>
            <a:r>
              <a:rPr lang="en-US" dirty="0"/>
              <a:t>If there are more than just a single message for node 0, the hardware has a NUMA configuration.</a:t>
            </a:r>
          </a:p>
          <a:p>
            <a:endParaRPr lang="en-US" dirty="0"/>
          </a:p>
          <a:p>
            <a:r>
              <a:rPr lang="en-US" b="1" dirty="0"/>
              <a:t>Additional Reading</a:t>
            </a:r>
            <a:r>
              <a:rPr lang="en-US" dirty="0"/>
              <a:t>:</a:t>
            </a:r>
            <a:br>
              <a:rPr lang="en-US" dirty="0"/>
            </a:br>
            <a:r>
              <a:rPr lang="en-US" i="1" dirty="0"/>
              <a:t>NUMA Support</a:t>
            </a:r>
          </a:p>
          <a:p>
            <a:r>
              <a:rPr lang="en-US" dirty="0">
                <a:hlinkClick r:id="rId4"/>
              </a:rPr>
              <a:t>https://techcommunity.microsoft.com/t5/sql-server-support/sql-server-clarifying-the-numa-configuration-information/ba-p/316753</a:t>
            </a:r>
            <a:endParaRPr lang="en-US" i="1" dirty="0"/>
          </a:p>
          <a:p>
            <a:r>
              <a:rPr lang="en-US" i="1" dirty="0"/>
              <a:t>Understanding Non-uniform Memory Access</a:t>
            </a:r>
          </a:p>
          <a:p>
            <a:r>
              <a:rPr lang="en-US" dirty="0">
                <a:hlinkClick r:id="rId5"/>
              </a:rPr>
              <a:t>https://docs.microsoft.com/en-us/previous-versions/sql/sql-server-2008-r2/ms178144(v=sql.105)</a:t>
            </a:r>
            <a:endParaRPr lang="en-US" dirty="0"/>
          </a:p>
          <a:p>
            <a:r>
              <a:rPr lang="en-US" i="1" dirty="0"/>
              <a:t>Recommendations and guidelines for the "max degree of parallelism" configuration option in SQL Server</a:t>
            </a:r>
          </a:p>
          <a:p>
            <a:r>
              <a:rPr lang="en-US" dirty="0">
                <a:hlinkClick r:id="rId6"/>
              </a:rPr>
              <a:t>https://support.microsoft.com/en-us/help/2806535/recommendations-and-guidelines-for-the-max-degree-of-parallelism-confi</a:t>
            </a:r>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41759274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NUMA architecture groups CPU and Memory into nodes. Nodes include their own CPUs and memory, and in some cases, their own I/O channels. Each node has its own system bus for the CPUs to reference the node memory. There are interconnects between the nodes to allow the memory to be referenced by other nodes. </a:t>
            </a:r>
          </a:p>
          <a:p>
            <a:pPr>
              <a:spcAft>
                <a:spcPts val="600"/>
              </a:spcAft>
            </a:pPr>
            <a:r>
              <a:rPr lang="en-US" dirty="0"/>
              <a:t>Memory local to a node is called local memory. Memory located in another node is referred as foreign or remote memory. Access to foreign memory is often more expensive in time than accessing local memory. The cost of local memory access over the cost of foreign memory access is called the </a:t>
            </a:r>
            <a:r>
              <a:rPr lang="en-US" b="1" dirty="0"/>
              <a:t>NUMA ratio</a:t>
            </a:r>
            <a:r>
              <a:rPr lang="en-US" dirty="0"/>
              <a:t>. A higher NUMA ratio implies a higher performance impact.</a:t>
            </a:r>
          </a:p>
          <a:p>
            <a:pPr>
              <a:spcAft>
                <a:spcPts val="600"/>
              </a:spcAft>
            </a:pPr>
            <a:r>
              <a:rPr lang="en-US" dirty="0"/>
              <a:t>Because foreign memory access is slower than accessing memory local to the node, it is important for resource-intensive applications to be NUMA-aware.  Relying heavily on foreign memory access will make an application run noticeably slower on NUMA hardware. SQL Server is fully NUMA-aware.</a:t>
            </a:r>
          </a:p>
          <a:p>
            <a:pPr>
              <a:spcAft>
                <a:spcPts val="600"/>
              </a:spcAft>
            </a:pPr>
            <a:r>
              <a:rPr lang="en-US" dirty="0"/>
              <a:t>Currently, most servers on the market have a NUMA hardware configuration. Typically each socket represents a NUMA node, although some of the newer hardware hosts 2 nodes per socket.</a:t>
            </a:r>
          </a:p>
          <a:p>
            <a:pPr>
              <a:spcAft>
                <a:spcPts val="600"/>
              </a:spcAft>
            </a:pPr>
            <a:r>
              <a:rPr lang="en-US" dirty="0"/>
              <a:t>You can detect if your SQL Server is running on NUMA hardware by examining the startup messages in the SQL Server error log. You will see messages similar to the following:</a:t>
            </a:r>
          </a:p>
          <a:p>
            <a:pPr>
              <a:spcAft>
                <a:spcPts val="600"/>
              </a:spcAft>
            </a:pPr>
            <a:r>
              <a:rPr lang="en-US" i="1" dirty="0"/>
              <a:t>Node configuration: node 0: CPU mask: 0x000000000000000f:0 Active CPU mask: 0x000000000000000f:0. This message provides a description of the NUMA configuration for this computer. This is an informational message only. No user action is required.</a:t>
            </a:r>
          </a:p>
          <a:p>
            <a:r>
              <a:rPr lang="en-US" dirty="0"/>
              <a:t>If there are more than just a single message for node 0, the hardware has a NUMA configuration.</a:t>
            </a:r>
          </a:p>
          <a:p>
            <a:endParaRPr lang="en-US" dirty="0"/>
          </a:p>
          <a:p>
            <a:r>
              <a:rPr lang="en-US" b="1" dirty="0"/>
              <a:t>Additional Reading</a:t>
            </a:r>
            <a:r>
              <a:rPr lang="en-US" dirty="0"/>
              <a:t>:</a:t>
            </a:r>
            <a:br>
              <a:rPr lang="en-US" dirty="0"/>
            </a:br>
            <a:r>
              <a:rPr lang="en-US" dirty="0"/>
              <a:t>NUMA Support </a:t>
            </a:r>
            <a:r>
              <a:rPr lang="en-US" dirty="0">
                <a:hlinkClick r:id="rId4"/>
              </a:rPr>
              <a:t>(http://technet.microsoft.com/en-us/query/aa363804</a:t>
            </a:r>
            <a:r>
              <a:rPr lang="en-US" dirty="0"/>
              <a:t>)</a:t>
            </a:r>
          </a:p>
          <a:p>
            <a:r>
              <a:rPr lang="en-US" dirty="0"/>
              <a:t>Understanding Non-uniform Memory Access </a:t>
            </a:r>
            <a:r>
              <a:rPr lang="en-US" dirty="0">
                <a:hlinkClick r:id="rId5"/>
              </a:rPr>
              <a:t>(http://msdn.microsoft.com/en-us/library/ms178144.aspx</a:t>
            </a:r>
            <a:r>
              <a:rPr lang="en-US" dirty="0"/>
              <a:t>)</a:t>
            </a:r>
          </a:p>
          <a:p>
            <a:r>
              <a:rPr lang="en-US" dirty="0"/>
              <a:t>Recommendations and guidelines for the "max degree of parallelism" configuration option in SQL Server </a:t>
            </a:r>
            <a:r>
              <a:rPr lang="en-US" dirty="0">
                <a:hlinkClick r:id="rId6"/>
              </a:rPr>
              <a:t>(http://support.microsoft.com/kb/2806535</a:t>
            </a:r>
            <a:r>
              <a:rPr lang="en-US" dirty="0"/>
              <a:t>)</a:t>
            </a:r>
          </a:p>
          <a:p>
            <a:pPr>
              <a:defRPr/>
            </a:pPr>
            <a:r>
              <a:rPr lang="en-US" dirty="0"/>
              <a:t>What's New in Hyper-V for Windows Server 2012 (</a:t>
            </a:r>
            <a:r>
              <a:rPr lang="en-US" dirty="0">
                <a:hlinkClick r:id="rId7"/>
              </a:rPr>
              <a:t>http://technet.microsoft.com/en-us/library/hh831410.aspx#BKMK_vNUMA</a:t>
            </a:r>
            <a:r>
              <a:rPr lang="en-US" dirty="0"/>
              <a:t>)</a:t>
            </a:r>
          </a:p>
          <a:p>
            <a:r>
              <a:rPr lang="pt-PT" dirty="0"/>
              <a:t>FIX: SQL Server performance issues in NUMA environments </a:t>
            </a:r>
            <a:r>
              <a:rPr lang="en-US" dirty="0"/>
              <a:t>(</a:t>
            </a:r>
            <a:r>
              <a:rPr lang="en-US" dirty="0">
                <a:hlinkClick r:id="rId8"/>
              </a:rPr>
              <a:t>http://support.microsoft.com/kb/2819662</a:t>
            </a:r>
            <a:r>
              <a:rPr lang="en-US" dirty="0"/>
              <a:t>)</a:t>
            </a:r>
          </a:p>
          <a:p>
            <a:r>
              <a:rPr lang="en-US" dirty="0"/>
              <a:t>FIX: Out-of-memory error when you run an instance of SQL Server 2012 on a computer that uses NUMA</a:t>
            </a:r>
            <a:r>
              <a:rPr lang="en-US" b="1" dirty="0"/>
              <a:t> </a:t>
            </a:r>
            <a:r>
              <a:rPr lang="en-US" dirty="0"/>
              <a:t>(</a:t>
            </a:r>
            <a:r>
              <a:rPr lang="en-US" dirty="0">
                <a:hlinkClick r:id="rId9"/>
              </a:rPr>
              <a:t>http://support.microsoft.com/kb/2688697</a:t>
            </a:r>
            <a:r>
              <a:rPr lang="en-US" dirty="0"/>
              <a:t>)</a:t>
            </a:r>
            <a:endParaRPr lang="pt-PT" dirty="0"/>
          </a:p>
          <a:p>
            <a:pPr>
              <a:defRPr/>
            </a:pPr>
            <a:endParaRPr lang="en-US" dirty="0"/>
          </a:p>
          <a:p>
            <a:endParaRPr lang="en-GB"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841496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SQL Server 2016, whenever the database engine server detects more than eight logical processors at startup, soft-NUMA nodes are created automatically by default. Physical and hyper-threaded processor cores are not differentiated when counting logical processors. When the number of logical processors detected is more than eight per socket, the database engine service will create soft-NUMA nodes that ideally contain eight cores, but can go down to five or up to nine logical processors per node. The size of the hardware node can be limited by a CPU affinity mask. </a:t>
            </a:r>
          </a:p>
          <a:p>
            <a:endParaRPr lang="en-US" dirty="0"/>
          </a:p>
          <a:p>
            <a:r>
              <a:rPr lang="en-US" dirty="0"/>
              <a:t>The number of NUMA nodes will never exceed the maximum number of supported NUMA nodes.</a:t>
            </a:r>
          </a:p>
          <a:p>
            <a:r>
              <a:rPr lang="en-US" dirty="0"/>
              <a:t>You can disable or re-enable soft-NUMA by using the ALTER SERVER CONFIGURATION (Transact-SQL) statement with the SET SOFTNUMA argument. Changing the value of this setting requires a restart of the database engine for the new value to take effect.</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1658088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e automatic, soft NUMA behavior is Hyperthread (HT/logical processor)-aware. When determining the optimal node layout, the logical CPU information is queried and used to prevent groupings of logical-only and physical-only nodes, which could lead to performance variations across the nodes.</a:t>
            </a:r>
            <a:endParaRPr lang="en-US" dirty="0">
              <a:effectLst/>
            </a:endParaRPr>
          </a:p>
          <a:p>
            <a:r>
              <a:rPr lang="en-US" sz="900" kern="1200" dirty="0">
                <a:solidFill>
                  <a:schemeClr val="tx1"/>
                </a:solidFill>
                <a:effectLst/>
                <a:latin typeface="Segoe UI Light" pitchFamily="34" charset="0"/>
                <a:ea typeface="+mn-ea"/>
                <a:cs typeface="+mn-cs"/>
              </a:rPr>
              <a:t> </a:t>
            </a:r>
            <a:endParaRPr lang="en-US" dirty="0">
              <a:effectLst/>
            </a:endParaRPr>
          </a:p>
          <a:p>
            <a:r>
              <a:rPr lang="en-US" sz="900" kern="1200" dirty="0">
                <a:solidFill>
                  <a:schemeClr val="tx1"/>
                </a:solidFill>
                <a:effectLst/>
                <a:latin typeface="Segoe UI Light" pitchFamily="34" charset="0"/>
                <a:ea typeface="+mn-ea"/>
                <a:cs typeface="+mn-cs"/>
              </a:rPr>
              <a:t>Furthermore, many of the background processes are created within each node. The partitioning and creation of additional nodes scales background processing. For example, each node contains a worker to listen for network activity and performs encryption activities. The additional nodes created with a soft NUMA configuration increases the number of listeners, scaling, and network and encryption capabilities.</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901716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1677336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9</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9/2024</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800" b="1" dirty="0"/>
              <a:t>Previous demonstration files are under E:\Archived. </a:t>
            </a:r>
          </a:p>
          <a:p>
            <a:endParaRPr lang="en-US" sz="800" b="1" dirty="0"/>
          </a:p>
          <a:p>
            <a:r>
              <a:rPr lang="en-US" sz="800" b="1" dirty="0"/>
              <a:t>You can open all the demonstrations by using the solutions file :</a:t>
            </a:r>
          </a:p>
          <a:p>
            <a:r>
              <a:rPr lang="en-US" sz="800" b="0" dirty="0"/>
              <a:t>E:\Demos\SQL_PTO_Workshop_Demos.ssmssln</a:t>
            </a:r>
          </a:p>
          <a:p>
            <a:endParaRPr lang="en-US" sz="800" b="1" dirty="0"/>
          </a:p>
          <a:p>
            <a:r>
              <a:rPr lang="en-US" sz="800" b="1" dirty="0"/>
              <a:t>Individual SQL demo file.</a:t>
            </a:r>
          </a:p>
          <a:p>
            <a:r>
              <a:rPr lang="en-US" sz="800" b="0" dirty="0"/>
              <a:t>E:\Demos\02_Processors_Memory\</a:t>
            </a:r>
            <a:r>
              <a:rPr lang="en-US" sz="882" i="1" dirty="0">
                <a:solidFill>
                  <a:prstClr val="black"/>
                </a:solidFill>
                <a:latin typeface="Segoe UI Light" pitchFamily="34" charset="0"/>
              </a:rPr>
              <a:t>Examining NUMA configurations.sql</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8081503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0</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9/2024</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4814905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US"/>
              <a:t>In SQL Server 2012, the </a:t>
            </a:r>
            <a:r>
              <a:rPr lang="en-US" b="1"/>
              <a:t>max server memory</a:t>
            </a:r>
            <a:r>
              <a:rPr lang="en-US"/>
              <a:t> setting now controls all memory allocations  that were previously made through the single_page_allocator AND multi_page_allocator. While SQL CLR memory allocations come directly from VAS via VirtualAlloc, they are accounted for by the memory manager and thus are controlled by </a:t>
            </a:r>
            <a:r>
              <a:rPr lang="en-US" b="1"/>
              <a:t>max server memory</a:t>
            </a:r>
            <a:r>
              <a:rPr lang="en-US"/>
              <a:t>.  As a result, SQL Server 2012 </a:t>
            </a:r>
            <a:r>
              <a:rPr lang="en-US" b="1"/>
              <a:t>max server memory</a:t>
            </a:r>
            <a:r>
              <a:rPr lang="en-US"/>
              <a:t> configuration excludes </a:t>
            </a:r>
            <a:r>
              <a:rPr lang="en-US" b="1"/>
              <a:t>only</a:t>
            </a:r>
            <a:r>
              <a:rPr lang="en-US"/>
              <a:t> the following allocations:</a:t>
            </a:r>
          </a:p>
          <a:p>
            <a:pPr marL="628650" lvl="1" indent="-171450">
              <a:spcAft>
                <a:spcPts val="600"/>
              </a:spcAft>
              <a:buFont typeface="Arial" pitchFamily="34" charset="0"/>
              <a:buChar char="•"/>
            </a:pPr>
            <a:r>
              <a:rPr lang="en-US"/>
              <a:t>Memory allocations for thread stacks within the SQL Server process.</a:t>
            </a:r>
          </a:p>
          <a:p>
            <a:pPr marL="628650" lvl="1" indent="-171450">
              <a:spcAft>
                <a:spcPts val="600"/>
              </a:spcAft>
              <a:buFont typeface="Arial" pitchFamily="34" charset="0"/>
              <a:buChar char="•"/>
            </a:pPr>
            <a:r>
              <a:rPr lang="en-US"/>
              <a:t>Memory allocation requests made directly to Windows. Examples: Allocations from extended stored procedure DLLs, objects created using OLE Automation procedures (sp_OA calls), and allocations from linked server providers</a:t>
            </a:r>
          </a:p>
          <a:p>
            <a:pPr>
              <a:spcAft>
                <a:spcPts val="600"/>
              </a:spcAft>
            </a:pPr>
            <a:r>
              <a:rPr lang="en-US"/>
              <a:t>The amount of memory that is not controlled by </a:t>
            </a:r>
            <a:r>
              <a:rPr lang="en-US" b="1"/>
              <a:t>max server memory</a:t>
            </a:r>
            <a:r>
              <a:rPr lang="en-US"/>
              <a:t> will vary greatly from environment to environment.  It will depend on the hardware in use, the number of worker threads, the use of any third-party DLLs, and so on.  As an example, on the x64 platform, each thread has a 2 megabytes (MB) stack size.  The default maximum number of worker threads can be calculated by using the following formula:</a:t>
            </a:r>
          </a:p>
          <a:p>
            <a:pPr>
              <a:spcAft>
                <a:spcPts val="600"/>
              </a:spcAft>
            </a:pPr>
            <a:r>
              <a:rPr lang="en-US"/>
              <a:t>Maximum worker threads = (512+ (&lt;# of processors&gt; -4) * 16)</a:t>
            </a:r>
          </a:p>
          <a:p>
            <a:pPr>
              <a:spcAft>
                <a:spcPts val="600"/>
              </a:spcAft>
            </a:pPr>
            <a:r>
              <a:rPr lang="en-US"/>
              <a:t>Therefore, on a system with 16 cores, the maximum number of worker threads will be 704.  Multiply that by 2 MB per thread and you end up with 1,408 MB of memory for just the thread stacks in addition to what is being used by the memory manager.  This should be kept in mind when estimating SQL Server memory usage for a particular instance and considered when configuring </a:t>
            </a:r>
            <a:r>
              <a:rPr lang="en-US" b="1"/>
              <a:t>max server memory</a:t>
            </a:r>
            <a:r>
              <a:rPr lang="en-US"/>
              <a:t>.</a:t>
            </a:r>
          </a:p>
          <a:p>
            <a:r>
              <a:rPr lang="en-US" b="1"/>
              <a:t>Additional Reading</a:t>
            </a:r>
            <a:r>
              <a:rPr lang="en-US"/>
              <a:t>:</a:t>
            </a:r>
          </a:p>
          <a:p>
            <a:r>
              <a:rPr lang="en-US" i="1"/>
              <a:t>Memory configuration and sizing considerations in SQL Server 2012</a:t>
            </a:r>
          </a:p>
          <a:p>
            <a:r>
              <a:rPr lang="en-US">
                <a:hlinkClick r:id="rId4"/>
              </a:rPr>
              <a:t>http://support.microsoft.com/kb/2663912</a:t>
            </a:r>
            <a:endParaRPr lang="en-US"/>
          </a:p>
          <a:p>
            <a:endParaRPr lang="en-US"/>
          </a:p>
          <a:p>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 name="Rectangular Callout 8"/>
          <p:cNvSpPr/>
          <p:nvPr/>
        </p:nvSpPr>
        <p:spPr>
          <a:xfrm>
            <a:off x="-1992995" y="3763828"/>
            <a:ext cx="2373995" cy="1159144"/>
          </a:xfrm>
          <a:prstGeom prst="wedgeRectCallout">
            <a:avLst>
              <a:gd name="adj1" fmla="val 151245"/>
              <a:gd name="adj2" fmla="val 8460"/>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Is there a reason why this AND is all caps? Unless you are referring to the Boolean operator, please change to lower case</a:t>
            </a:r>
          </a:p>
        </p:txBody>
      </p:sp>
      <p:sp>
        <p:nvSpPr>
          <p:cNvPr id="10" name="Rectangular Callout 9"/>
          <p:cNvSpPr/>
          <p:nvPr/>
        </p:nvSpPr>
        <p:spPr>
          <a:xfrm>
            <a:off x="-1992996" y="5002306"/>
            <a:ext cx="2373995" cy="712694"/>
          </a:xfrm>
          <a:prstGeom prst="wedgeRectCallout">
            <a:avLst>
              <a:gd name="adj1" fmla="val 96616"/>
              <a:gd name="adj2" fmla="val -85905"/>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Please define VAS</a:t>
            </a:r>
          </a:p>
        </p:txBody>
      </p:sp>
      <p:sp>
        <p:nvSpPr>
          <p:cNvPr id="11" name="Slide Number Placeholder 10"/>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54844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dirty="0"/>
          </a:p>
        </p:txBody>
      </p:sp>
    </p:spTree>
    <p:extLst>
      <p:ext uri="{BB962C8B-B14F-4D97-AF65-F5344CB8AC3E}">
        <p14:creationId xmlns:p14="http://schemas.microsoft.com/office/powerpoint/2010/main" val="38932709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mory nodes provide the interface and the implementation for low-level allocators. Inside SQL Server, only memory clerks have access to memory nodes. Memory clerks access memory node interfaces to allocate memory. Memory nodes also track the memory allocated by using the clerk for diagnostics. Every component that allocates a significant amount of memory must create its own memory clerk and allocate all its memory by using the clerk interfaces. Frequently, components create their corresponding clerks at the time SQL Server is started.</a:t>
            </a:r>
            <a:endParaRPr lang="en-US" sz="900" b="1" kern="1200" dirty="0">
              <a:solidFill>
                <a:schemeClr val="tx1"/>
              </a:solidFill>
              <a:effectLst/>
              <a:latin typeface="Segoe UI Light"/>
              <a:ea typeface="+mn-ea"/>
              <a:cs typeface="+mn-cs"/>
            </a:endParaRPr>
          </a:p>
          <a:p>
            <a:endParaRPr lang="en-US" sz="900" b="1" kern="1200" dirty="0">
              <a:solidFill>
                <a:schemeClr val="tx1"/>
              </a:solidFill>
              <a:effectLst/>
              <a:latin typeface="Segoe UI Light"/>
              <a:ea typeface="+mn-ea"/>
              <a:cs typeface="+mn-cs"/>
            </a:endParaRPr>
          </a:p>
          <a:p>
            <a:r>
              <a:rPr lang="en-US" sz="900" b="1" kern="1200" dirty="0">
                <a:solidFill>
                  <a:schemeClr val="tx1"/>
                </a:solidFill>
                <a:effectLst/>
                <a:latin typeface="Segoe UI Light"/>
                <a:ea typeface="+mn-ea"/>
                <a:cs typeface="+mn-cs"/>
              </a:rPr>
              <a:t>Memory Broker</a:t>
            </a:r>
          </a:p>
          <a:p>
            <a:r>
              <a:rPr lang="en-US" sz="900" kern="1200" dirty="0">
                <a:solidFill>
                  <a:schemeClr val="tx1"/>
                </a:solidFill>
                <a:effectLst/>
                <a:latin typeface="Segoe UI Light"/>
                <a:ea typeface="+mn-ea"/>
                <a:cs typeface="+mn-cs"/>
              </a:rPr>
              <a:t>“Analyzing SQL Server's behavior with respect to memory consumption from multiple sources we realized that we have an opportunity to improve dynamic memory distribution even further.  We realized if we put a centralized mechanism that would dynamically distribute memory between buffer pool, query execution, query optimizer and caches, memory distribution would be more efficient and adaptable for different types of loads. So we did it. </a:t>
            </a:r>
          </a:p>
          <a:p>
            <a:r>
              <a:rPr lang="en-US" sz="900" kern="1200" dirty="0">
                <a:solidFill>
                  <a:schemeClr val="tx1"/>
                </a:solidFill>
                <a:effectLst/>
                <a:latin typeface="Segoe UI Light"/>
                <a:ea typeface="+mn-ea"/>
                <a:cs typeface="+mn-cs"/>
              </a:rPr>
              <a:t> </a:t>
            </a:r>
          </a:p>
          <a:p>
            <a:r>
              <a:rPr lang="en-US" sz="900" kern="1200" dirty="0">
                <a:solidFill>
                  <a:schemeClr val="tx1"/>
                </a:solidFill>
                <a:effectLst/>
                <a:latin typeface="Segoe UI Light"/>
                <a:ea typeface="+mn-ea"/>
                <a:cs typeface="+mn-cs"/>
              </a:rPr>
              <a:t>Final release of SQL Server has a new memory component - Memory Broker. Memory Broker's responsibility is to distribute memory across different components based on their demands.   One can think of the memory broker mechanism as a control mechanism with a feedback loop. The mechanism is simple: Memory broker monitors memory demand and consumption by each component. Based on the collected information it calculates the </a:t>
            </a:r>
            <a:r>
              <a:rPr lang="en-US" sz="900" i="1" kern="1200" dirty="0">
                <a:solidFill>
                  <a:schemeClr val="tx1"/>
                </a:solidFill>
                <a:effectLst/>
                <a:latin typeface="Segoe UI Light"/>
                <a:ea typeface="+mn-ea"/>
                <a:cs typeface="+mn-cs"/>
              </a:rPr>
              <a:t>optimal</a:t>
            </a:r>
            <a:r>
              <a:rPr lang="en-US" sz="900" kern="1200" dirty="0">
                <a:solidFill>
                  <a:schemeClr val="tx1"/>
                </a:solidFill>
                <a:effectLst/>
                <a:latin typeface="Segoe UI Light"/>
                <a:ea typeface="+mn-ea"/>
                <a:cs typeface="+mn-cs"/>
              </a:rPr>
              <a:t> memory distribution for each component and broadcasts the information to the components. Each component uses the information to adapt its memory usage accordingly. </a:t>
            </a:r>
          </a:p>
          <a:p>
            <a:r>
              <a:rPr lang="en-US" sz="900" kern="1200" dirty="0">
                <a:solidFill>
                  <a:schemeClr val="tx1"/>
                </a:solidFill>
                <a:effectLst/>
                <a:latin typeface="Segoe UI Light"/>
                <a:ea typeface="+mn-ea"/>
                <a:cs typeface="+mn-cs"/>
              </a:rPr>
              <a:t> </a:t>
            </a:r>
          </a:p>
          <a:p>
            <a:r>
              <a:rPr lang="en-US" sz="900" kern="1200" dirty="0">
                <a:solidFill>
                  <a:schemeClr val="tx1"/>
                </a:solidFill>
                <a:effectLst/>
                <a:latin typeface="Segoe UI Light"/>
                <a:ea typeface="+mn-ea"/>
                <a:cs typeface="+mn-cs"/>
              </a:rPr>
              <a:t>You can monitor the memory broker behavior by querying </a:t>
            </a:r>
            <a:r>
              <a:rPr lang="en-US" dirty="0">
                <a:latin typeface="Segoe UI Light"/>
              </a:rPr>
              <a:t>the </a:t>
            </a:r>
            <a:r>
              <a:rPr lang="en-US" sz="900" kern="1200" dirty="0">
                <a:solidFill>
                  <a:schemeClr val="tx1"/>
                </a:solidFill>
                <a:effectLst/>
                <a:latin typeface="Segoe UI Light"/>
                <a:ea typeface="+mn-ea"/>
                <a:cs typeface="+mn-cs"/>
              </a:rPr>
              <a:t>memory broker ring buffer: </a:t>
            </a:r>
          </a:p>
          <a:p>
            <a:r>
              <a:rPr lang="en-US" sz="900" kern="1200" dirty="0">
                <a:solidFill>
                  <a:schemeClr val="tx1"/>
                </a:solidFill>
                <a:effectLst/>
                <a:latin typeface="Segoe UI Light"/>
                <a:ea typeface="+mn-ea"/>
                <a:cs typeface="+mn-cs"/>
              </a:rPr>
              <a:t>select * from </a:t>
            </a:r>
            <a:r>
              <a:rPr lang="en-US" sz="900" kern="1200" dirty="0" err="1">
                <a:solidFill>
                  <a:schemeClr val="tx1"/>
                </a:solidFill>
                <a:effectLst/>
                <a:latin typeface="Segoe UI Light"/>
                <a:ea typeface="+mn-ea"/>
                <a:cs typeface="+mn-cs"/>
              </a:rPr>
              <a:t>sys.dm_os_ring_buffer</a:t>
            </a:r>
            <a:r>
              <a:rPr lang="en-US" sz="900" kern="1200" dirty="0">
                <a:solidFill>
                  <a:schemeClr val="tx1"/>
                </a:solidFill>
                <a:effectLst/>
                <a:latin typeface="Segoe UI Light"/>
                <a:ea typeface="+mn-ea"/>
                <a:cs typeface="+mn-cs"/>
              </a:rPr>
              <a:t> </a:t>
            </a:r>
          </a:p>
          <a:p>
            <a:r>
              <a:rPr lang="en-US" sz="900" kern="1200" dirty="0">
                <a:solidFill>
                  <a:schemeClr val="tx1"/>
                </a:solidFill>
                <a:effectLst/>
                <a:latin typeface="Segoe UI Light"/>
                <a:ea typeface="+mn-ea"/>
                <a:cs typeface="+mn-cs"/>
              </a:rPr>
              <a:t>where </a:t>
            </a:r>
          </a:p>
          <a:p>
            <a:r>
              <a:rPr lang="en-US" sz="900" kern="1200" dirty="0" err="1">
                <a:solidFill>
                  <a:schemeClr val="tx1"/>
                </a:solidFill>
                <a:effectLst/>
                <a:latin typeface="Segoe UI Light"/>
                <a:ea typeface="+mn-ea"/>
                <a:cs typeface="+mn-cs"/>
              </a:rPr>
              <a:t>ring_buffer_type</a:t>
            </a:r>
            <a:r>
              <a:rPr lang="en-US" sz="900" kern="1200" dirty="0">
                <a:solidFill>
                  <a:schemeClr val="tx1"/>
                </a:solidFill>
                <a:effectLst/>
                <a:latin typeface="Segoe UI Light"/>
                <a:ea typeface="+mn-ea"/>
                <a:cs typeface="+mn-cs"/>
              </a:rPr>
              <a:t> = 'RING_BUFFER_MEMORY_BROKER'</a:t>
            </a:r>
          </a:p>
          <a:p>
            <a:r>
              <a:rPr lang="en-US" sz="900" kern="1200" dirty="0">
                <a:solidFill>
                  <a:schemeClr val="tx1"/>
                </a:solidFill>
                <a:effectLst/>
                <a:latin typeface="Segoe UI Light"/>
                <a:ea typeface="+mn-ea"/>
                <a:cs typeface="+mn-cs"/>
              </a:rPr>
              <a:t> </a:t>
            </a:r>
          </a:p>
          <a:p>
            <a:r>
              <a:rPr lang="en-US" sz="900" kern="1200" dirty="0">
                <a:solidFill>
                  <a:schemeClr val="tx1"/>
                </a:solidFill>
                <a:effectLst/>
                <a:latin typeface="Segoe UI Light"/>
                <a:ea typeface="+mn-ea"/>
                <a:cs typeface="+mn-cs"/>
              </a:rPr>
              <a:t>Ring buffer is only updated when memory broker wants the behavior of a given component to change: shrink, grow, or stay stable.</a:t>
            </a:r>
          </a:p>
          <a:p>
            <a:r>
              <a:rPr lang="en-US" sz="900" kern="1200" dirty="0">
                <a:solidFill>
                  <a:schemeClr val="tx1"/>
                </a:solidFill>
                <a:effectLst/>
                <a:latin typeface="Segoe UI Light"/>
                <a:ea typeface="+mn-ea"/>
                <a:cs typeface="+mn-cs"/>
              </a:rPr>
              <a:t> </a:t>
            </a:r>
          </a:p>
          <a:p>
            <a:r>
              <a:rPr lang="en-US" sz="900" kern="1200" dirty="0">
                <a:solidFill>
                  <a:schemeClr val="tx1"/>
                </a:solidFill>
                <a:effectLst/>
                <a:latin typeface="Segoe UI Light"/>
                <a:ea typeface="+mn-ea"/>
                <a:cs typeface="+mn-cs"/>
              </a:rPr>
              <a:t>One can use dbcc </a:t>
            </a:r>
            <a:r>
              <a:rPr lang="en-US" sz="900" kern="1200" dirty="0" err="1">
                <a:solidFill>
                  <a:schemeClr val="tx1"/>
                </a:solidFill>
                <a:effectLst/>
                <a:latin typeface="Segoe UI Light"/>
                <a:ea typeface="+mn-ea"/>
                <a:cs typeface="+mn-cs"/>
              </a:rPr>
              <a:t>memorystatus</a:t>
            </a:r>
            <a:r>
              <a:rPr lang="en-US" sz="900" kern="1200" dirty="0">
                <a:solidFill>
                  <a:schemeClr val="tx1"/>
                </a:solidFill>
                <a:effectLst/>
                <a:latin typeface="Segoe UI Light"/>
                <a:ea typeface="+mn-ea"/>
                <a:cs typeface="+mn-cs"/>
              </a:rPr>
              <a:t> to find out last memory broker notification.</a:t>
            </a:r>
          </a:p>
          <a:p>
            <a:endParaRPr lang="en-US" sz="900" b="1" kern="1200" dirty="0">
              <a:solidFill>
                <a:schemeClr val="tx1"/>
              </a:solidFill>
              <a:latin typeface="Segoe UI Light"/>
              <a:ea typeface="+mn-ea"/>
              <a:cs typeface="+mn-cs"/>
            </a:endParaRPr>
          </a:p>
          <a:p>
            <a:r>
              <a:rPr lang="en-US" sz="900" b="1" kern="1200" dirty="0">
                <a:solidFill>
                  <a:schemeClr val="tx1"/>
                </a:solidFill>
                <a:latin typeface="Segoe UI Light"/>
                <a:ea typeface="+mn-ea"/>
                <a:cs typeface="+mn-cs"/>
              </a:rPr>
              <a:t>References</a:t>
            </a:r>
            <a:br>
              <a:rPr lang="en-US" sz="900" kern="1200" dirty="0">
                <a:solidFill>
                  <a:schemeClr val="tx1"/>
                </a:solidFill>
                <a:latin typeface="Segoe UI Light"/>
                <a:ea typeface="+mn-ea"/>
                <a:cs typeface="+mn-cs"/>
              </a:rPr>
            </a:br>
            <a:r>
              <a:rPr lang="en-US" sz="900" kern="1200" dirty="0" err="1">
                <a:solidFill>
                  <a:schemeClr val="tx1"/>
                </a:solidFill>
                <a:latin typeface="Segoe UI Light"/>
                <a:ea typeface="+mn-ea"/>
                <a:cs typeface="+mn-cs"/>
              </a:rPr>
              <a:t>sys.dm_os_memory_brokers</a:t>
            </a:r>
            <a:r>
              <a:rPr lang="en-US" sz="900" kern="1200" dirty="0">
                <a:solidFill>
                  <a:schemeClr val="tx1"/>
                </a:solidFill>
                <a:latin typeface="Segoe UI Light"/>
                <a:ea typeface="+mn-ea"/>
                <a:cs typeface="+mn-cs"/>
              </a:rPr>
              <a:t> (Transact-SQL) https://msdn.microsoft.com/en-us/library/bb522548.aspx</a:t>
            </a:r>
          </a:p>
          <a:p>
            <a:r>
              <a:rPr lang="en-US" sz="900" kern="1200" dirty="0" err="1">
                <a:solidFill>
                  <a:schemeClr val="tx1"/>
                </a:solidFill>
                <a:latin typeface="Segoe UI Light"/>
                <a:ea typeface="+mn-ea"/>
                <a:cs typeface="+mn-cs"/>
              </a:rPr>
              <a:t>Slava</a:t>
            </a:r>
            <a:r>
              <a:rPr lang="en-US" sz="900" kern="1200" dirty="0">
                <a:solidFill>
                  <a:schemeClr val="tx1"/>
                </a:solidFill>
                <a:latin typeface="Segoe UI Light"/>
                <a:ea typeface="+mn-ea"/>
                <a:cs typeface="+mn-cs"/>
              </a:rPr>
              <a:t> </a:t>
            </a:r>
            <a:r>
              <a:rPr lang="en-US" sz="900" kern="1200" dirty="0" err="1">
                <a:solidFill>
                  <a:schemeClr val="tx1"/>
                </a:solidFill>
                <a:latin typeface="Segoe UI Light"/>
                <a:ea typeface="+mn-ea"/>
                <a:cs typeface="+mn-cs"/>
              </a:rPr>
              <a:t>Oks's</a:t>
            </a:r>
            <a:r>
              <a:rPr lang="en-US" sz="900" kern="1200" dirty="0">
                <a:solidFill>
                  <a:schemeClr val="tx1"/>
                </a:solidFill>
                <a:latin typeface="Segoe UI Light"/>
                <a:ea typeface="+mn-ea"/>
                <a:cs typeface="+mn-cs"/>
              </a:rPr>
              <a:t> </a:t>
            </a:r>
            <a:r>
              <a:rPr lang="en-US" sz="900" kern="1200" dirty="0" err="1">
                <a:solidFill>
                  <a:schemeClr val="tx1"/>
                </a:solidFill>
                <a:latin typeface="Segoe UI Light"/>
                <a:ea typeface="+mn-ea"/>
                <a:cs typeface="+mn-cs"/>
              </a:rPr>
              <a:t>WebLog</a:t>
            </a:r>
            <a:r>
              <a:rPr lang="en-US" sz="900" kern="1200" dirty="0">
                <a:solidFill>
                  <a:schemeClr val="tx1"/>
                </a:solidFill>
                <a:latin typeface="Segoe UI Light"/>
                <a:ea typeface="+mn-ea"/>
                <a:cs typeface="+mn-cs"/>
              </a:rPr>
              <a:t> - http://blogs.msdn.com/b/slavao/archive/2005/11/05/489459.aspx</a:t>
            </a:r>
          </a:p>
          <a:p>
            <a:endParaRPr lang="en-US" sz="900" kern="1200" dirty="0">
              <a:solidFill>
                <a:schemeClr val="tx1"/>
              </a:solidFill>
              <a:latin typeface="Segoe UI Light"/>
              <a:ea typeface="+mn-ea"/>
              <a:cs typeface="+mn-cs"/>
            </a:endParaRPr>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Rectangular Callout 8"/>
          <p:cNvSpPr/>
          <p:nvPr/>
        </p:nvSpPr>
        <p:spPr>
          <a:xfrm>
            <a:off x="-2351217" y="2781854"/>
            <a:ext cx="2373995" cy="1159144"/>
          </a:xfrm>
          <a:prstGeom prst="wedgeRectCallout">
            <a:avLst>
              <a:gd name="adj1" fmla="val 99133"/>
              <a:gd name="adj2" fmla="val 12859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this a quote? Pease remove the quotations if it is not a direct quote. </a:t>
            </a:r>
          </a:p>
        </p:txBody>
      </p:sp>
      <p:sp>
        <p:nvSpPr>
          <p:cNvPr id="10" name="Rectangular Callout 9"/>
          <p:cNvSpPr/>
          <p:nvPr/>
        </p:nvSpPr>
        <p:spPr>
          <a:xfrm>
            <a:off x="6331057" y="3304929"/>
            <a:ext cx="2241235" cy="1318437"/>
          </a:xfrm>
          <a:prstGeom prst="wedgeRectCallout">
            <a:avLst>
              <a:gd name="adj1" fmla="val -194765"/>
              <a:gd name="adj2" fmla="val 47572"/>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avoid using first person “we”, “I”, or “our”. Always use “you” or “Microsoft” if that is applicable. </a:t>
            </a:r>
          </a:p>
        </p:txBody>
      </p:sp>
      <p:sp>
        <p:nvSpPr>
          <p:cNvPr id="13" name="Slide Number Placeholder 12"/>
          <p:cNvSpPr>
            <a:spLocks noGrp="1"/>
          </p:cNvSpPr>
          <p:nvPr>
            <p:ph type="sldNum" sz="quarter" idx="10"/>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5604238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SQL Server is designed to use as much memory as is available on the server, unless configured to do otherwise. Use the sp_configure options </a:t>
            </a:r>
            <a:r>
              <a:rPr lang="en-US" b="1" dirty="0"/>
              <a:t>min server memory</a:t>
            </a:r>
            <a:r>
              <a:rPr lang="en-US" dirty="0"/>
              <a:t> and </a:t>
            </a:r>
            <a:r>
              <a:rPr lang="en-US" b="1" dirty="0"/>
              <a:t>max server memory</a:t>
            </a:r>
            <a:r>
              <a:rPr lang="en-US" dirty="0"/>
              <a:t> to control the amount of memory that the SQL Server process will consume.</a:t>
            </a:r>
          </a:p>
          <a:p>
            <a:pPr>
              <a:spcAft>
                <a:spcPts val="600"/>
              </a:spcAft>
            </a:pPr>
            <a:r>
              <a:rPr lang="en-US" dirty="0"/>
              <a:t>On startup, SQL Server will grab just enough memory to get the engine up and running. As activity is performed in the databases, SQL Server will allocate memory as needed until it reaches its target level. The memory target is determined based on the </a:t>
            </a:r>
            <a:r>
              <a:rPr lang="en-US" b="1" dirty="0"/>
              <a:t>max server memory</a:t>
            </a:r>
            <a:r>
              <a:rPr lang="en-US" dirty="0"/>
              <a:t> setting and the amount of physical memory available on the server. Typically, the target remains constant, but a change in the amount of physical memory available such as memory pressure from other processes on the server can cause the target to fluctuate.</a:t>
            </a:r>
          </a:p>
          <a:p>
            <a:pPr>
              <a:spcAft>
                <a:spcPts val="600"/>
              </a:spcAft>
            </a:pPr>
            <a:r>
              <a:rPr lang="en-US" dirty="0"/>
              <a:t>SQL Server will adjust its memory footprint as needed to accommodate other processes running on the server and the processes running within the SQL Server engine. The </a:t>
            </a:r>
            <a:r>
              <a:rPr lang="en-US" b="1" dirty="0"/>
              <a:t>min server memory</a:t>
            </a:r>
            <a:r>
              <a:rPr lang="en-US" dirty="0"/>
              <a:t> setting provides a way for the database administrator (DBA) to control how much memory SQL Server will be able to give back to the operating system in the event of memory pressure. SQL Server can only adjust memory between the levels defined by </a:t>
            </a:r>
            <a:r>
              <a:rPr lang="en-US" b="1" dirty="0"/>
              <a:t>max server memory</a:t>
            </a:r>
            <a:r>
              <a:rPr lang="en-US" dirty="0"/>
              <a:t> and </a:t>
            </a:r>
            <a:r>
              <a:rPr lang="en-US" b="1" dirty="0"/>
              <a:t>min server memory</a:t>
            </a:r>
            <a:r>
              <a:rPr lang="en-US" dirty="0"/>
              <a:t>, it can never trim memory below </a:t>
            </a:r>
            <a:r>
              <a:rPr lang="en-US" b="1" dirty="0"/>
              <a:t>min server memory</a:t>
            </a:r>
            <a:r>
              <a:rPr lang="en-US" dirty="0"/>
              <a:t>. Setting </a:t>
            </a:r>
            <a:r>
              <a:rPr lang="en-US" b="1" dirty="0"/>
              <a:t>min server memory</a:t>
            </a:r>
            <a:r>
              <a:rPr lang="en-US" dirty="0"/>
              <a:t> equal to </a:t>
            </a:r>
            <a:r>
              <a:rPr lang="en-US" b="1" dirty="0"/>
              <a:t>max server memory</a:t>
            </a:r>
            <a:r>
              <a:rPr lang="en-US" dirty="0"/>
              <a:t> makes SQL Server’s memory allocation static. It will still grab memory as needed, but will not have the ability to give any of that memory back to the operating system once it is allocated.</a:t>
            </a:r>
          </a:p>
          <a:p>
            <a:pPr>
              <a:spcAft>
                <a:spcPts val="600"/>
              </a:spcAft>
            </a:pPr>
            <a:r>
              <a:rPr lang="en-US" dirty="0"/>
              <a:t>On a dedicated SQL Server with the latest version of Windows, it might not be necessary to set </a:t>
            </a:r>
            <a:r>
              <a:rPr lang="en-US" b="1" dirty="0"/>
              <a:t>min server memory</a:t>
            </a:r>
            <a:r>
              <a:rPr lang="en-US" dirty="0"/>
              <a:t> and </a:t>
            </a:r>
            <a:r>
              <a:rPr lang="en-US" b="1" dirty="0"/>
              <a:t>max server memory</a:t>
            </a:r>
            <a:r>
              <a:rPr lang="en-US" dirty="0"/>
              <a:t>. On systems that have applications other than SQL Server running, set the min and max appropriately to ensure enough memory for SQL Server and other applications. In a virtualized environment, it may be particularly important to set the min and max to guarantee that SQL Server gets enough resources from the Virtual Host.</a:t>
            </a:r>
          </a:p>
          <a:p>
            <a:endParaRPr lang="en-US" b="1" dirty="0"/>
          </a:p>
          <a:p>
            <a:r>
              <a:rPr lang="en-US" b="1" dirty="0"/>
              <a:t>Additional Reading</a:t>
            </a:r>
            <a:r>
              <a:rPr lang="en-US" dirty="0"/>
              <a:t>:</a:t>
            </a:r>
          </a:p>
          <a:p>
            <a:r>
              <a:rPr lang="en-US" i="1" dirty="0"/>
              <a:t>Server Memory Server Configuration Options</a:t>
            </a:r>
          </a:p>
          <a:p>
            <a:r>
              <a:rPr lang="en-US" dirty="0">
                <a:hlinkClick r:id="rId4"/>
              </a:rPr>
              <a:t>https://docs.microsoft.com/en-us/sql/database-engine/configure-windows/server-memory-server-configuration-options?view=sql-server-ver15&amp;viewFallbackFrom=sql-server-ver15%22</a:t>
            </a:r>
            <a:endParaRPr lang="en-US" dirty="0"/>
          </a:p>
          <a:p>
            <a:r>
              <a:rPr lang="en-US" dirty="0"/>
              <a:t>*** Unless you have large page support with lock pages in memory in which case it is all allocated ‘upfront’</a:t>
            </a:r>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9" name="Slide Number Placeholder 8"/>
          <p:cNvSpPr>
            <a:spLocks noGrp="1"/>
          </p:cNvSpPr>
          <p:nvPr>
            <p:ph type="sldNum" sz="quarter" idx="10"/>
          </p:nvPr>
        </p:nvSpPr>
        <p:spPr/>
        <p:txBody>
          <a:bodyPr/>
          <a:lstStyle/>
          <a:p>
            <a:fld id="{B4008EB6-D09E-4580-8CD6-DDB14511944F}" type="slidenum">
              <a:rPr lang="en-US" smtClean="0"/>
              <a:pPr/>
              <a:t>25</a:t>
            </a:fld>
            <a:endParaRPr lang="en-US" dirty="0"/>
          </a:p>
        </p:txBody>
      </p:sp>
      <p:sp>
        <p:nvSpPr>
          <p:cNvPr id="4" name="Rectangular Callout 3"/>
          <p:cNvSpPr/>
          <p:nvPr/>
        </p:nvSpPr>
        <p:spPr>
          <a:xfrm>
            <a:off x="7239000" y="6019800"/>
            <a:ext cx="2514600" cy="1447800"/>
          </a:xfrm>
          <a:prstGeom prst="wedgeRectCallout">
            <a:avLst>
              <a:gd name="adj1" fmla="val -153537"/>
              <a:gd name="adj2" fmla="val 3461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validate if this is factually correct.</a:t>
            </a:r>
          </a:p>
        </p:txBody>
      </p:sp>
    </p:spTree>
    <p:extLst>
      <p:ext uri="{BB962C8B-B14F-4D97-AF65-F5344CB8AC3E}">
        <p14:creationId xmlns:p14="http://schemas.microsoft.com/office/powerpoint/2010/main" val="25672708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SQL Server is designed to use as much memory as is available on the server, unless configured to do otherwise. Use the sp_configure options </a:t>
            </a:r>
            <a:r>
              <a:rPr lang="en-US" b="1" dirty="0"/>
              <a:t>min server memory</a:t>
            </a:r>
            <a:r>
              <a:rPr lang="en-US" dirty="0"/>
              <a:t> and </a:t>
            </a:r>
            <a:r>
              <a:rPr lang="en-US" b="1" dirty="0"/>
              <a:t>max server memory</a:t>
            </a:r>
            <a:r>
              <a:rPr lang="en-US" dirty="0"/>
              <a:t> to control the amount of memory that the SQL Server process will consume.</a:t>
            </a:r>
          </a:p>
          <a:p>
            <a:pPr>
              <a:spcAft>
                <a:spcPts val="600"/>
              </a:spcAft>
            </a:pPr>
            <a:r>
              <a:rPr lang="en-US" dirty="0"/>
              <a:t>On startup, SQL Server will grab just enough memory to get the engine up and running. As activity is performed in the databases, SQL Server will allocate memory as needed until it reaches its target level. The memory target is determined based on the </a:t>
            </a:r>
            <a:r>
              <a:rPr lang="en-US" b="1" dirty="0"/>
              <a:t>max server memory</a:t>
            </a:r>
            <a:r>
              <a:rPr lang="en-US" dirty="0"/>
              <a:t> setting and the amount of physical memory available on the server. Typically, the target remains constant, but a change in the amount of physical memory available such as memory pressure from other processes on the server can cause the target to fluctuate.</a:t>
            </a:r>
          </a:p>
          <a:p>
            <a:pPr>
              <a:spcAft>
                <a:spcPts val="600"/>
              </a:spcAft>
            </a:pPr>
            <a:r>
              <a:rPr lang="en-US" dirty="0"/>
              <a:t>SQL Server will adjust its memory footprint as needed to accommodate other processes running on the server and the processes running within the SQL Server engine. The </a:t>
            </a:r>
            <a:r>
              <a:rPr lang="en-US" b="1" dirty="0"/>
              <a:t>min server memory</a:t>
            </a:r>
            <a:r>
              <a:rPr lang="en-US" dirty="0"/>
              <a:t> setting provides a way for the database administrator (DBA) to control how much memory SQL Server will be able to give back to the operating system in the event of memory pressure. SQL Server can only adjust memory between the levels defined by </a:t>
            </a:r>
            <a:r>
              <a:rPr lang="en-US" b="1" dirty="0"/>
              <a:t>max server memory</a:t>
            </a:r>
            <a:r>
              <a:rPr lang="en-US" dirty="0"/>
              <a:t> and </a:t>
            </a:r>
            <a:r>
              <a:rPr lang="en-US" b="1" dirty="0"/>
              <a:t>min server memory</a:t>
            </a:r>
            <a:r>
              <a:rPr lang="en-US" dirty="0"/>
              <a:t>, it can never trim memory below </a:t>
            </a:r>
            <a:r>
              <a:rPr lang="en-US" b="1" dirty="0"/>
              <a:t>min server memory</a:t>
            </a:r>
            <a:r>
              <a:rPr lang="en-US" dirty="0"/>
              <a:t>. Setting </a:t>
            </a:r>
            <a:r>
              <a:rPr lang="en-US" b="1" dirty="0"/>
              <a:t>min server memory</a:t>
            </a:r>
            <a:r>
              <a:rPr lang="en-US" dirty="0"/>
              <a:t> equal to </a:t>
            </a:r>
            <a:r>
              <a:rPr lang="en-US" b="1" dirty="0"/>
              <a:t>max server memory</a:t>
            </a:r>
            <a:r>
              <a:rPr lang="en-US" dirty="0"/>
              <a:t> makes SQL Server’s memory allocation static. It will still grab memory as needed, but will not have the ability to give any of that memory back to the operating system once it is allocated.</a:t>
            </a:r>
          </a:p>
          <a:p>
            <a:pPr>
              <a:spcAft>
                <a:spcPts val="600"/>
              </a:spcAft>
            </a:pPr>
            <a:r>
              <a:rPr lang="en-US" dirty="0"/>
              <a:t>On a dedicated SQL Server with the latest version of Windows, it might not be necessary to set </a:t>
            </a:r>
            <a:r>
              <a:rPr lang="en-US" b="1" dirty="0"/>
              <a:t>min server memory</a:t>
            </a:r>
            <a:r>
              <a:rPr lang="en-US" dirty="0"/>
              <a:t> and </a:t>
            </a:r>
            <a:r>
              <a:rPr lang="en-US" b="1" dirty="0"/>
              <a:t>max server memory</a:t>
            </a:r>
            <a:r>
              <a:rPr lang="en-US" dirty="0"/>
              <a:t>. On systems that have applications other than SQL Server running, set the min and max appropriately to ensure enough memory for SQL Server and other applications. In a virtualized environment, it may be particularly important to set the min and max to guarantee that SQL Server gets enough resources from the Virtual Host.</a:t>
            </a:r>
          </a:p>
          <a:p>
            <a:endParaRPr lang="en-US" b="1" dirty="0"/>
          </a:p>
          <a:p>
            <a:r>
              <a:rPr lang="en-US" b="1" dirty="0"/>
              <a:t>Additional Reading</a:t>
            </a:r>
            <a:r>
              <a:rPr lang="en-US" dirty="0"/>
              <a:t>:</a:t>
            </a:r>
          </a:p>
          <a:p>
            <a:r>
              <a:rPr lang="en-US" i="1" dirty="0"/>
              <a:t>Server Memory Server Configuration Options</a:t>
            </a:r>
          </a:p>
          <a:p>
            <a:r>
              <a:rPr lang="en-US" dirty="0">
                <a:hlinkClick r:id="rId4"/>
              </a:rPr>
              <a:t>https://docs.microsoft.com/en-us/sql/database-engine/configure-windows/server-memory-server-configuration-options?view=sql-server-ver15&amp;viewFallbackFrom=sql-server-ver15%22</a:t>
            </a:r>
            <a:endParaRPr lang="en-US" dirty="0"/>
          </a:p>
          <a:p>
            <a:r>
              <a:rPr lang="en-US" dirty="0"/>
              <a:t>*** Unless you have large page support with lock pages in memory in which case it is all allocated ‘upfront’</a:t>
            </a:r>
          </a:p>
          <a:p>
            <a:endParaRPr lang="en-US" dirty="0"/>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35639571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b="1" dirty="0"/>
              <a:t>Individual SQL demo file. </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b="0" dirty="0"/>
              <a:t>E:\Demos\02_Processors_Memory\</a:t>
            </a:r>
            <a:r>
              <a:rPr lang="en-US" sz="900" i="1" noProof="1">
                <a:solidFill>
                  <a:prstClr val="black"/>
                </a:solidFill>
                <a:latin typeface="Segoe UI Light" pitchFamily="34" charset="0"/>
              </a:rPr>
              <a:t>Examining and Monitoring SQL Server Memory Usage.sql</a:t>
            </a:r>
            <a:endParaRPr lang="en-US" sz="900" b="0" dirty="0"/>
          </a:p>
          <a:p>
            <a:endParaRPr lang="en-US" sz="882" noProof="1">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6247232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2561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a:spcAft>
                <a:spcPts val="600"/>
              </a:spcAft>
            </a:pPr>
            <a:r>
              <a:rPr lang="en-US" dirty="0"/>
              <a:t>The buffer pool generally represents the largest percentage of SQL Server memory. In NUMA systems, there will be a separate buffer pool node for each NUMA node. </a:t>
            </a:r>
          </a:p>
          <a:p>
            <a:pPr>
              <a:spcAft>
                <a:spcPts val="600"/>
              </a:spcAft>
            </a:pPr>
            <a:r>
              <a:rPr lang="en-US" dirty="0"/>
              <a:t>The buffer pool abstracts the physical location of data and provides caching functions. All data accessed by SQL Server goes through the buffer pool. Therefore, the buffer pool can determine the data that should be stored in the cache to boost performance for frequently used objects. </a:t>
            </a:r>
          </a:p>
          <a:p>
            <a:pPr>
              <a:spcAft>
                <a:spcPts val="600"/>
              </a:spcAft>
            </a:pPr>
            <a:r>
              <a:rPr lang="en-US" dirty="0"/>
              <a:t>There are two ways that the data is accessed from the buffer pool: </a:t>
            </a:r>
          </a:p>
          <a:p>
            <a:pPr marL="171450" indent="-171450">
              <a:spcAft>
                <a:spcPts val="600"/>
              </a:spcAft>
              <a:buFont typeface="Arial" pitchFamily="34" charset="0"/>
              <a:buChar char="•"/>
            </a:pPr>
            <a:r>
              <a:rPr lang="en-US" b="1" dirty="0"/>
              <a:t>Logical read</a:t>
            </a:r>
            <a:r>
              <a:rPr lang="en-US" dirty="0"/>
              <a:t>. Indicates that the data requested is already present in the cache. A logical read-only involves memory access, so the response time is optimum. </a:t>
            </a:r>
          </a:p>
          <a:p>
            <a:pPr marL="171450" indent="-171450">
              <a:spcAft>
                <a:spcPts val="600"/>
              </a:spcAft>
              <a:buFont typeface="Arial" pitchFamily="34" charset="0"/>
              <a:buChar char="•"/>
            </a:pPr>
            <a:r>
              <a:rPr lang="en-US" b="1" dirty="0"/>
              <a:t>Physical read</a:t>
            </a:r>
            <a:r>
              <a:rPr lang="en-US" dirty="0"/>
              <a:t>. Indicates that the data requested is not present in the cache, so the data must be found by using the database files. A physical read is a disk I/O operation, which is more expensive than memory access. When the I/O operation completes, the request is satisfied and the data is stored in the cache so that it can be accessed later. </a:t>
            </a:r>
          </a:p>
          <a:p>
            <a:pPr>
              <a:spcAft>
                <a:spcPts val="600"/>
              </a:spcAft>
            </a:pPr>
            <a:r>
              <a:rPr lang="en-US" dirty="0"/>
              <a:t>When a query runs, the database pages that contain the data required to return the query result may or may not be located in physical memory. The query does not have the notion of data locality; it simply requests the page from the buffer pool. </a:t>
            </a:r>
          </a:p>
          <a:p>
            <a:pPr>
              <a:spcAft>
                <a:spcPts val="600"/>
              </a:spcAft>
            </a:pPr>
            <a:r>
              <a:rPr lang="en-US" dirty="0"/>
              <a:t>If the pages are in memory, then there is a logical read of the page, which results in a </a:t>
            </a:r>
            <a:r>
              <a:rPr lang="en-US" i="1" dirty="0"/>
              <a:t>cache hit</a:t>
            </a:r>
            <a:r>
              <a:rPr lang="en-US" dirty="0"/>
              <a:t>. If the page is not in memory, then there needs to be a physical read of the page from the disk subsystem. This results in a </a:t>
            </a:r>
            <a:r>
              <a:rPr lang="en-US" i="1" dirty="0"/>
              <a:t>cache miss event</a:t>
            </a:r>
            <a:r>
              <a:rPr lang="en-US" dirty="0"/>
              <a:t>. </a:t>
            </a:r>
          </a:p>
          <a:p>
            <a:endParaRPr lang="en-US" b="1" dirty="0"/>
          </a:p>
          <a:p>
            <a:r>
              <a:rPr lang="en-US" b="1" dirty="0"/>
              <a:t>Additional Reading:</a:t>
            </a:r>
          </a:p>
          <a:p>
            <a:r>
              <a:rPr lang="en-US" i="1" dirty="0"/>
              <a:t>Buffer Management</a:t>
            </a:r>
          </a:p>
          <a:p>
            <a:r>
              <a:rPr lang="en-US" dirty="0">
                <a:hlinkClick r:id="rId4"/>
              </a:rPr>
              <a:t>https://docs.microsoft.com/en-us/previous-versions/sql/sql-server-2008-r2/aa337525(v=sql.105)</a:t>
            </a:r>
            <a:endParaRPr lang="en-US" i="1" dirty="0"/>
          </a:p>
          <a:p>
            <a:r>
              <a:rPr lang="en-US" i="1" dirty="0"/>
              <a:t>Growing and Shrinking the Buffer Pool Under NUMA</a:t>
            </a:r>
          </a:p>
          <a:p>
            <a:r>
              <a:rPr lang="en-US" dirty="0">
                <a:hlinkClick r:id="rId5"/>
              </a:rPr>
              <a:t>https://docs.microsoft.com/en-us/previous-versions/sql/sql-server-2008-r2/ms345403(v=sql.105)</a:t>
            </a:r>
            <a:endParaRPr lang="en-US" dirty="0"/>
          </a:p>
          <a:p>
            <a:endParaRPr lang="en-US" dirty="0"/>
          </a:p>
          <a:p>
            <a:endParaRPr lang="en-US" b="0" dirty="0"/>
          </a:p>
          <a:p>
            <a:endParaRPr lang="en-US" b="0" dirty="0"/>
          </a:p>
          <a:p>
            <a:endParaRPr lang="en-US" b="1" dirty="0"/>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 name="Slide Number Placeholder 8"/>
          <p:cNvSpPr>
            <a:spLocks noGrp="1"/>
          </p:cNvSpPr>
          <p:nvPr>
            <p:ph type="sldNum" sz="quarter" idx="10"/>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8418477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There is often extensive discussion given to the decision of whether or not to enable locked pages in SQL Server. Many things should be considered such as the amount of physical memory available on the server, whether or not the server is dedicated to SQL Server, the version of SQL Server and the operating system and even whether the underlying hardware is physical or virtual.</a:t>
            </a:r>
          </a:p>
          <a:p>
            <a:pPr>
              <a:spcAft>
                <a:spcPts val="600"/>
              </a:spcAft>
            </a:pPr>
            <a:r>
              <a:rPr lang="en-US" dirty="0"/>
              <a:t>The typical advice is that if you are running the latest version of SQL Server on the latest version of Windows Server, locked pages in memory (LPIM) should not be necessary. Previous versions of Windows had some issues with memory management that could cause large amounts of paging unnecessarily, requiring the use of LPIM to prevent a SQL Server instance from having a large percentage of its Working Set paged out to disk.</a:t>
            </a:r>
          </a:p>
          <a:p>
            <a:pPr>
              <a:spcAft>
                <a:spcPts val="600"/>
              </a:spcAft>
            </a:pPr>
            <a:r>
              <a:rPr lang="en-US" dirty="0"/>
              <a:t>While the latest versions of the operating system and SQL Server do not require the use of LPIM, it is required to support Large Page memory allocations, which can be desirable in some workloads. Again, there are many considerations for whether or not to enable Large Page allocations, which are discussed in the blog post referenced below. Essentially, this setting allows for more efficient memory mapping as it leads to a smaller total number of allocations, but there can be issues such as memory fragmentation that prevent this from being effective, which must be considered.</a:t>
            </a:r>
          </a:p>
          <a:p>
            <a:r>
              <a:rPr lang="en-US" b="1" dirty="0"/>
              <a:t>Additional Reading:</a:t>
            </a:r>
          </a:p>
          <a:p>
            <a:r>
              <a:rPr lang="en-US" i="1" dirty="0"/>
              <a:t>How to enable the "locked pages" feature in SQL Server 2012</a:t>
            </a:r>
          </a:p>
          <a:p>
            <a:pPr>
              <a:spcAft>
                <a:spcPts val="600"/>
              </a:spcAft>
            </a:pPr>
            <a:r>
              <a:rPr lang="en-US" dirty="0" err="1">
                <a:hlinkClick r:id="rId4"/>
              </a:rPr>
              <a:t>h</a:t>
            </a:r>
            <a:r>
              <a:rPr lang="en-US" dirty="0" err="1">
                <a:hlinkClick r:id="rId5"/>
              </a:rPr>
              <a:t>Enable</a:t>
            </a:r>
            <a:r>
              <a:rPr lang="en-US" dirty="0">
                <a:hlinkClick r:id="rId5"/>
              </a:rPr>
              <a:t> the Lock Pages in Memory Option (Windows) - SQL Server | Microsoft Docs</a:t>
            </a:r>
            <a:endParaRPr lang="en-US" dirty="0"/>
          </a:p>
          <a:p>
            <a:pPr>
              <a:spcAft>
                <a:spcPts val="600"/>
              </a:spcAft>
            </a:pPr>
            <a:endParaRPr lang="en-US" dirty="0"/>
          </a:p>
          <a:p>
            <a:pPr>
              <a:spcAft>
                <a:spcPts val="600"/>
              </a:spcAft>
            </a:pPr>
            <a:r>
              <a:rPr lang="en-US" i="1" dirty="0"/>
              <a:t>SQL Server and Large Pages Explained</a:t>
            </a:r>
          </a:p>
          <a:p>
            <a:r>
              <a:rPr lang="en-US" dirty="0">
                <a:hlinkClick r:id="rId6"/>
              </a:rPr>
              <a:t>http://blogs.msdn.com/b/psssql/archive/2009/06/05/sql-server-and-large-pages-explained.aspx</a:t>
            </a:r>
            <a:endParaRPr lang="en-US" dirty="0"/>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9" name="Slide Number Placeholder 8"/>
          <p:cNvSpPr>
            <a:spLocks noGrp="1"/>
          </p:cNvSpPr>
          <p:nvPr>
            <p:ph type="sldNum" sz="quarter" idx="10"/>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307639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When the lazy writer process is started, it checks the size of the free buffer list. If the free buffer list is below a certain point (based on the size of the cache) or there is a low memory notification from the Resource Monitor, the lazy writer process scans the buffer cache to reclaim unused pages and write dirty pages that have a reference count of zero. This makes the reclaimed buffer pages available to new data pages, or for use by the SQL Server or Windows memory managers. </a:t>
            </a:r>
          </a:p>
          <a:p>
            <a:pPr>
              <a:spcAft>
                <a:spcPts val="600"/>
              </a:spcAft>
            </a:pPr>
            <a:r>
              <a:rPr lang="en-US" dirty="0"/>
              <a:t>When the lazy writer finds an eligible buffer, it determines if the buffer is dirty. If it is not dirty, it can simply be </a:t>
            </a:r>
            <a:r>
              <a:rPr lang="en-US" dirty="0" err="1"/>
              <a:t>unhashed</a:t>
            </a:r>
            <a:r>
              <a:rPr lang="en-US" dirty="0"/>
              <a:t> and freed. Otherwise, an asynchronous write (lazy write) is posted so that the buffer can be freed up later. </a:t>
            </a:r>
          </a:p>
          <a:p>
            <a:pPr>
              <a:spcAft>
                <a:spcPts val="600"/>
              </a:spcAft>
            </a:pPr>
            <a:r>
              <a:rPr lang="en-US" dirty="0"/>
              <a:t>The lazy writer always checks 16 buffers at a time. When sufficient free buffers are available, the lazy writer goes to sleep until the next check a second later. If it must resume its search for free buffers, it starts off at the point that it last stopped. When it reaches the end of the buffer pool, it wraps</a:t>
            </a:r>
            <a:r>
              <a:rPr lang="en-US" b="1" dirty="0"/>
              <a:t> </a:t>
            </a:r>
            <a:r>
              <a:rPr lang="en-US" dirty="0"/>
              <a:t>back around to the beginning and starts over. This is why it is sometimes referred to as a clock, </a:t>
            </a:r>
            <a:r>
              <a:rPr lang="en-US" i="1" dirty="0"/>
              <a:t>sweeping </a:t>
            </a:r>
            <a:r>
              <a:rPr lang="en-US" dirty="0"/>
              <a:t>through the buffers in a cyclical fashion.</a:t>
            </a:r>
            <a:endParaRPr lang="en-US" b="1" dirty="0"/>
          </a:p>
          <a:p>
            <a:pPr>
              <a:spcAft>
                <a:spcPts val="600"/>
              </a:spcAft>
            </a:pPr>
            <a:r>
              <a:rPr lang="en-US" dirty="0"/>
              <a:t>On a NUMA system, there will be separate buffer pools for each hardware NUMA node. Each node manages its own memory, so there will be a separate lazy writer thread for each node. Because of this, it may be necessary to monitor NUMA systems via the Buffer Node performance counters rather than the Buffer Manager counters.</a:t>
            </a:r>
          </a:p>
          <a:p>
            <a:endParaRPr lang="en-US" dirty="0"/>
          </a:p>
          <a:p>
            <a:r>
              <a:rPr lang="en-US" b="1" dirty="0"/>
              <a:t>Reference:</a:t>
            </a:r>
          </a:p>
          <a:p>
            <a:r>
              <a:rPr lang="en-US" dirty="0">
                <a:hlinkClick r:id="rId3"/>
              </a:rPr>
              <a:t>https://docs.microsoft.com/en-us/previous-versions/sql/sql-server-2008-r2/aa337560(v=sql.105)</a:t>
            </a:r>
            <a:endParaRPr lang="en-US" dirty="0"/>
          </a:p>
          <a:p>
            <a:endParaRPr lang="en-US" b="1" dirty="0"/>
          </a:p>
          <a:p>
            <a:endParaRPr lang="en-US" dirty="0"/>
          </a:p>
          <a:p>
            <a:r>
              <a:rPr lang="en-US" b="1" dirty="0">
                <a:effectLst/>
              </a:rPr>
              <a:t>How Buffer Management Works</a:t>
            </a:r>
          </a:p>
          <a:p>
            <a:r>
              <a:rPr lang="en-US" dirty="0">
                <a:effectLst/>
              </a:rPr>
              <a:t>A buffer is an 8 KB page in memory, the same size as a data or index page. Thus, the buffer cache is divided into 8 KB pages. The buffer manager manages the functions for reading data or index pages from the database disk files into the buffer cache and writing modified pages back to disk. A page remains in the buffer cache until the buffer manager needs the buffer area to read in more data. Data is written back to disk only if it is modified. Data in the buffer cache can be modified multiple times before being written back to disk. For more information, see </a:t>
            </a:r>
            <a:r>
              <a:rPr lang="en-US" dirty="0">
                <a:effectLst/>
                <a:hlinkClick r:id="rId4"/>
              </a:rPr>
              <a:t>Reading Pages</a:t>
            </a:r>
            <a:r>
              <a:rPr lang="en-US" dirty="0">
                <a:effectLst/>
              </a:rPr>
              <a:t> and </a:t>
            </a:r>
            <a:r>
              <a:rPr lang="en-US" dirty="0">
                <a:effectLst/>
                <a:hlinkClick r:id="rId5"/>
              </a:rPr>
              <a:t>Writing Pages</a:t>
            </a:r>
            <a:r>
              <a:rPr lang="en-US" dirty="0">
                <a:effectLst/>
              </a:rPr>
              <a:t>.</a:t>
            </a:r>
          </a:p>
          <a:p>
            <a:endParaRPr lang="en-US" dirty="0">
              <a:effectLst/>
            </a:endParaRPr>
          </a:p>
          <a:p>
            <a:r>
              <a:rPr lang="en-US" dirty="0">
                <a:effectLst/>
              </a:rPr>
              <a:t>When SQL Server starts, it computes the size of virtual address space for the buffer cache based on a number of parameters such as the amount of physical memory on the system, the configured number of maximum server threads, and various startup parameters. SQL Server reserves this computed amount of its process virtual address space (called the memory target) for the buffer cache, but it acquires (commits) only the required amount of physical memory for the current load. You can query the </a:t>
            </a:r>
            <a:r>
              <a:rPr lang="en-US" b="1" dirty="0" err="1">
                <a:effectLst/>
              </a:rPr>
              <a:t>bpool_commit_target</a:t>
            </a:r>
            <a:r>
              <a:rPr lang="en-US" dirty="0">
                <a:effectLst/>
              </a:rPr>
              <a:t> and </a:t>
            </a:r>
            <a:r>
              <a:rPr lang="en-US" b="1" dirty="0" err="1">
                <a:effectLst/>
              </a:rPr>
              <a:t>bpool_committed</a:t>
            </a:r>
            <a:r>
              <a:rPr lang="en-US" dirty="0">
                <a:effectLst/>
              </a:rPr>
              <a:t> columns in the </a:t>
            </a:r>
            <a:r>
              <a:rPr lang="en-US" dirty="0" err="1">
                <a:effectLst/>
                <a:hlinkClick r:id="rId6"/>
              </a:rPr>
              <a:t>sys.dm_os_sys_info</a:t>
            </a:r>
            <a:r>
              <a:rPr lang="en-US" dirty="0">
                <a:effectLst/>
              </a:rPr>
              <a:t> catalog view to return the number of pages reserved as the memory target and the number of pages currently committed in the buffer cache, respectively.</a:t>
            </a:r>
          </a:p>
          <a:p>
            <a:r>
              <a:rPr lang="en-US" dirty="0">
                <a:effectLst/>
              </a:rPr>
              <a:t>The interval between SQL Server startup and when the buffer cache obtains its memory target is called ramp-up. During this time, read requests fill the buffers as needed. For example, a single-page read request fills a single buffer page. This means the ramp-up depends on the number and type of client requests. Ramp-up is expedited by transforming single-page read requests into aligned eight-page requests. This allows the ramp-up to finish much faster, especially on machines with a lot of memory.</a:t>
            </a:r>
          </a:p>
          <a:p>
            <a:r>
              <a:rPr lang="en-US" dirty="0">
                <a:effectLst/>
              </a:rPr>
              <a:t>Because the buffer manager uses most of the memory in the SQL Server process, it cooperates with the memory manager to allow other components to use its buffers. The buffer manager interacts primarily with the following components:</a:t>
            </a:r>
          </a:p>
          <a:p>
            <a:r>
              <a:rPr lang="en-US" dirty="0">
                <a:effectLst/>
              </a:rPr>
              <a:t>Resource manager to control overall memory usage and, in 32-bit platforms, to control address space usage.</a:t>
            </a:r>
            <a:r>
              <a:rPr lang="en-US" baseline="0" dirty="0">
                <a:effectLst/>
              </a:rPr>
              <a:t> </a:t>
            </a:r>
            <a:r>
              <a:rPr lang="en-US" dirty="0">
                <a:effectLst/>
              </a:rPr>
              <a:t>Database manager and the SQLOS for low-level file I/O operations. Log manager for write-ahead logging.</a:t>
            </a:r>
          </a:p>
          <a:p>
            <a:endParaRPr lang="en-US" b="1"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2</a:t>
            </a:fld>
            <a:endParaRPr lang="en-US" noProof="0" dirty="0"/>
          </a:p>
        </p:txBody>
      </p:sp>
    </p:spTree>
    <p:extLst>
      <p:ext uri="{BB962C8B-B14F-4D97-AF65-F5344CB8AC3E}">
        <p14:creationId xmlns:p14="http://schemas.microsoft.com/office/powerpoint/2010/main" val="11026693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black"/>
                </a:solidFill>
                <a:effectLst/>
                <a:uLnTx/>
                <a:uFillTx/>
                <a:latin typeface="Segoe UI Light"/>
                <a:ea typeface="+mn-ea"/>
                <a:cs typeface="+mn-cs"/>
              </a:rPr>
              <a:t>FAQ</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Should I use BPE if I have enough SSD to fit the whole workload?</a:t>
            </a: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No, you will not benefit from BPE in this cas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Can I use the same SSD device for both BPE and TempDB?</a:t>
            </a: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SSD usually have very good IOPS, so in general you should be fine. However, make sure you have enough IOPS available, otherwise it might affect both BPE and TempDB.</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What is “memory pressur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	Page Life expectancy is low, if that number is far exceeding 5 minutes (or 300 seconds), then it is unlikely that BPE will help improve performanc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ja-JP" sz="1200" b="0" i="0" u="none" strike="noStrike" kern="1200" cap="none" spc="0" normalizeH="0" baseline="0" noProof="0" dirty="0">
              <a:ln>
                <a:noFill/>
              </a:ln>
              <a:solidFill>
                <a:prstClr val="black"/>
              </a:solidFill>
              <a:effectLst/>
              <a:uLnTx/>
              <a:uFillTx/>
              <a:latin typeface="Segoe UI Ligh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Will I see any benefits on a data warehouse type workload?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	Do not expect improvements on DW workloads.</a:t>
            </a:r>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9" name="Rectangular Callout 8"/>
          <p:cNvSpPr/>
          <p:nvPr/>
        </p:nvSpPr>
        <p:spPr>
          <a:xfrm>
            <a:off x="4876800" y="6705600"/>
            <a:ext cx="3743683" cy="1115261"/>
          </a:xfrm>
          <a:prstGeom prst="wedgeRectCallout">
            <a:avLst>
              <a:gd name="adj1" fmla="val -78785"/>
              <a:gd name="adj2" fmla="val -26032"/>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Do not use DW as n acronym for data warehouse? Please expand the term</a:t>
            </a:r>
          </a:p>
        </p:txBody>
      </p:sp>
      <p:sp>
        <p:nvSpPr>
          <p:cNvPr id="10" name="Slide Number Placeholder 9"/>
          <p:cNvSpPr>
            <a:spLocks noGrp="1"/>
          </p:cNvSpPr>
          <p:nvPr>
            <p:ph type="sldNum" sz="quarter" idx="10"/>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35547817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2F2F2F"/>
                </a:solidFill>
                <a:effectLst/>
                <a:latin typeface="Segoe UI" panose="020B0502040204020203" pitchFamily="34" charset="0"/>
              </a:rPr>
              <a:t>The buffer pool and buffer pool scans</a:t>
            </a:r>
          </a:p>
          <a:p>
            <a:pPr algn="l"/>
            <a:r>
              <a:rPr lang="en-US" b="0" i="0" dirty="0">
                <a:solidFill>
                  <a:srgbClr val="2F2F2F"/>
                </a:solidFill>
                <a:effectLst/>
                <a:latin typeface="Segoe UI" panose="020B0502040204020203" pitchFamily="34" charset="0"/>
              </a:rPr>
              <a:t>The buffer pool is the area of memory that SQL Server uses to cache data. All pages must be copied into the buffer pool before they can be used in a query, and it is necessary to scan the buffer pool for a number of operations.</a:t>
            </a:r>
          </a:p>
          <a:p>
            <a:pPr algn="l"/>
            <a:endParaRPr lang="en-US" b="0" i="0" dirty="0">
              <a:solidFill>
                <a:srgbClr val="2F2F2F"/>
              </a:solidFill>
              <a:effectLst/>
              <a:latin typeface="Segoe UI" panose="020B0502040204020203" pitchFamily="34" charset="0"/>
            </a:endParaRPr>
          </a:p>
          <a:p>
            <a:pPr algn="l"/>
            <a:r>
              <a:rPr lang="en-US" b="0" i="0" dirty="0">
                <a:solidFill>
                  <a:srgbClr val="2F2F2F"/>
                </a:solidFill>
                <a:effectLst/>
                <a:latin typeface="Segoe UI" panose="020B0502040204020203" pitchFamily="34" charset="0"/>
              </a:rPr>
              <a:t>Buffer pool scans are a common internal operation requiring iterating through potentially millions of buffers. For example, a SQL Server instance with 1 TB of buffer space requires a buffer pool scan to iterate over 130 million buffers. This is true for any SQL Server environment regardless of its buffer space usage as the buffer pool scan always iterates through the entire buffer descriptor array to find any buffers that belong to a specific database.</a:t>
            </a:r>
          </a:p>
          <a:p>
            <a:pPr algn="l"/>
            <a:r>
              <a:rPr lang="en-US" b="0" i="0" dirty="0">
                <a:solidFill>
                  <a:srgbClr val="2F2F2F"/>
                </a:solidFill>
                <a:effectLst/>
                <a:latin typeface="Segoe UI" panose="020B0502040204020203" pitchFamily="34" charset="0"/>
              </a:rPr>
              <a:t>Operations that scan the buffer pool, especially on servers with large amounts of memory, will benefit the most from the new SQL Server 2022 Buffer Pool Parallel Scan capability.</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Further Reading: </a:t>
            </a:r>
            <a:r>
              <a:rPr lang="en-US" sz="2000" dirty="0">
                <a:hlinkClick r:id="rId4"/>
              </a:rPr>
              <a:t>Improve scalability with Buffer Pool Parallel Scan in SQL Server 2022 - Microsoft SQL Server Blog</a:t>
            </a:r>
            <a:endParaRPr lang="en-US" sz="2000"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dirty="0"/>
              <a:t>Further Reading: </a:t>
            </a:r>
            <a:r>
              <a:rPr lang="en-US" sz="4800" dirty="0">
                <a:hlinkClick r:id="rId5"/>
              </a:rPr>
              <a:t>Operations that trigger buffer pool scan may run slowly on large-memory computers - SQL Server | Microsoft Learn</a:t>
            </a:r>
            <a:endParaRPr lang="en-US" sz="2000" b="1"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b="1" dirty="0">
                <a:solidFill>
                  <a:srgbClr val="0078D4"/>
                </a:solidFill>
              </a:rPr>
              <a:t>Data Exposed: </a:t>
            </a:r>
            <a:r>
              <a:rPr lang="en-US" dirty="0">
                <a:hlinkClick r:id="rId6"/>
              </a:rPr>
              <a:t>SQL Server 2022: Introducing Buffer Pool Parallel Scan (Ep. 5) | Data Exposed (youtube.com)</a:t>
            </a:r>
            <a:endParaRPr lang="en-US" b="1" dirty="0"/>
          </a:p>
          <a:p>
            <a:endParaRPr lang="en-US" b="1"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9" name="Rectangular Callout 8"/>
          <p:cNvSpPr/>
          <p:nvPr/>
        </p:nvSpPr>
        <p:spPr>
          <a:xfrm>
            <a:off x="4876800" y="6705600"/>
            <a:ext cx="3743683" cy="1115261"/>
          </a:xfrm>
          <a:prstGeom prst="wedgeRectCallout">
            <a:avLst>
              <a:gd name="adj1" fmla="val -78785"/>
              <a:gd name="adj2" fmla="val -26032"/>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Do not use DW as n acronym for data warehouse? Please expand the term</a:t>
            </a:r>
          </a:p>
        </p:txBody>
      </p:sp>
      <p:sp>
        <p:nvSpPr>
          <p:cNvPr id="10" name="Slide Number Placeholder 9"/>
          <p:cNvSpPr>
            <a:spLocks noGrp="1"/>
          </p:cNvSpPr>
          <p:nvPr>
            <p:ph type="sldNum" sz="quarter" idx="10"/>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21138292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29/2024</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919442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6</a:t>
            </a:fld>
            <a:endParaRPr lang="en-US" noProof="0" dirty="0"/>
          </a:p>
        </p:txBody>
      </p:sp>
    </p:spTree>
    <p:extLst>
      <p:ext uri="{BB962C8B-B14F-4D97-AF65-F5344CB8AC3E}">
        <p14:creationId xmlns:p14="http://schemas.microsoft.com/office/powerpoint/2010/main" val="17171303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8</a:t>
            </a:fld>
            <a:endParaRPr lang="en-US" noProof="0" dirty="0"/>
          </a:p>
        </p:txBody>
      </p:sp>
    </p:spTree>
    <p:extLst>
      <p:ext uri="{BB962C8B-B14F-4D97-AF65-F5344CB8AC3E}">
        <p14:creationId xmlns:p14="http://schemas.microsoft.com/office/powerpoint/2010/main" val="16824141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The </a:t>
            </a:r>
            <a:r>
              <a:rPr lang="en-US" sz="1050" b="1" dirty="0">
                <a:latin typeface="Segoe UI" panose="020B0502040204020203" pitchFamily="34" charset="0"/>
                <a:cs typeface="Segoe UI" panose="020B0502040204020203" pitchFamily="34" charset="0"/>
              </a:rPr>
              <a:t>Buffer Cache Hit Ratio</a:t>
            </a:r>
            <a:r>
              <a:rPr lang="en-US" sz="1050" dirty="0">
                <a:latin typeface="Segoe UI" panose="020B0502040204020203" pitchFamily="34" charset="0"/>
                <a:cs typeface="Segoe UI" panose="020B0502040204020203" pitchFamily="34" charset="0"/>
              </a:rPr>
              <a:t> measures the percentage of pages that were found in the buffer pool without having to incur a read from disk. This counter indicates how often SQL Server goes to the buffer and not the hard disk, to get data. The higher this ratio, the better. A high ratio, close to 100% indicates that SQL Server did not have to go to the hard disk often to fetch data and overall performance is boosted. If the Buffer Cache Hit Ratio is 100%, it would suggest that all of the pages are being accessed from the cache and does not require trips to the disk because of the optimistic read ahead mechanism but this is not exactly the case. When a user session wants to read data from the database, it will read directly from the SQL Server buffer cache (a logical read) or if the buffer cache does not have the data that is requested, the data will be read into the buffer cache from disk (a physical read) and then from the buffer cache. If the requested data is in the buffer cache, then it is called a 'buffer hit'. If the data is not in the buffer cache, it is called a 'buffer miss'. The ratio of buffer hits to total buffer requests is called the buffer cache hit ratio as can be seen from the following: </a:t>
            </a:r>
          </a:p>
          <a:p>
            <a:pPr lvl="1"/>
            <a:r>
              <a:rPr lang="en-US" sz="1050" dirty="0">
                <a:latin typeface="Segoe UI" panose="020B0502040204020203" pitchFamily="34" charset="0"/>
                <a:cs typeface="Segoe UI" panose="020B0502040204020203" pitchFamily="34" charset="0"/>
              </a:rPr>
              <a:t>Cache Hit Ratio = (Logical Reads - Physical Reads)/Logical Reads</a:t>
            </a:r>
          </a:p>
          <a:p>
            <a:r>
              <a:rPr lang="en-US" sz="1050" dirty="0">
                <a:latin typeface="Segoe UI" panose="020B0502040204020203" pitchFamily="34" charset="0"/>
                <a:cs typeface="Segoe UI" panose="020B0502040204020203" pitchFamily="34" charset="0"/>
              </a:rPr>
              <a:t>A read from memory takes approximately 100 nanoseconds, while a read from disk takes about 8 milliseconds or more. 1 millisecond = 1,000,000 nanoseconds The important point about SQL Server read operations is that when selecting data from the database, the user will wait on the complete read operation including all of the physical reads. The time it takes to select from the database depends on how much data will be read and how long it takes for those reads to occur. Even with cache reads, the time it takes to read a large amount of data can be significant. With physical reads, the time will be even longer. There are a few considerations to be aware of regarding the Buffer Cache Hit Ratio counter. First, unlike many of the other counters available for monitoring SQL Server, this counter averages the Buffer Cache Hit Ratio from the time the instance of SQL Server was started. </a:t>
            </a:r>
          </a:p>
          <a:p>
            <a:endParaRPr lang="en-GB" sz="1050" dirty="0">
              <a:latin typeface="Segoe UI" panose="020B0502040204020203" pitchFamily="34" charset="0"/>
              <a:cs typeface="Segoe UI" panose="020B0502040204020203" pitchFamily="34" charset="0"/>
            </a:endParaRP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10" name="Slide Number Placeholder 9"/>
          <p:cNvSpPr>
            <a:spLocks noGrp="1"/>
          </p:cNvSpPr>
          <p:nvPr>
            <p:ph type="sldNum" sz="quarter" idx="10"/>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13565566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support.microsoft.com/en-us/help/907877/how-to-use-the-dbcc-memorystatus-command-to-monitor-memory-usage-on-sq</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0</a:t>
            </a:fld>
            <a:endParaRPr lang="en-US" noProof="0" dirty="0"/>
          </a:p>
        </p:txBody>
      </p:sp>
    </p:spTree>
    <p:extLst>
      <p:ext uri="{BB962C8B-B14F-4D97-AF65-F5344CB8AC3E}">
        <p14:creationId xmlns:p14="http://schemas.microsoft.com/office/powerpoint/2010/main" val="42130718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t>However, memory allocations might be performed in the SQL Server address space that bypasses internal memory management routines.</a:t>
            </a:r>
          </a:p>
          <a:p>
            <a:endParaRPr lang="en-US" sz="900" dirty="0">
              <a:latin typeface="+mn-lt"/>
            </a:endParaRPr>
          </a:p>
          <a:p>
            <a:endParaRPr lang="en-US" sz="900" dirty="0">
              <a:latin typeface="+mn-lt"/>
            </a:endParaRPr>
          </a:p>
          <a:p>
            <a:r>
              <a:rPr lang="en-US" sz="900" dirty="0">
                <a:latin typeface="+mn-lt"/>
              </a:rPr>
              <a:t>Memory brokers fairly distribute memory allocations between various components within SQL Server, based on current and projected usage. Memory brokers do not perform allocations. They only track allocations for computing distribution.</a:t>
            </a:r>
            <a:br>
              <a:rPr lang="en-US" sz="900" dirty="0">
                <a:latin typeface="+mn-lt"/>
              </a:rPr>
            </a:br>
            <a:br>
              <a:rPr lang="en-US" sz="900" dirty="0">
                <a:latin typeface="+mn-lt"/>
              </a:rPr>
            </a:br>
            <a:r>
              <a:rPr lang="en-US" sz="900" b="1" dirty="0">
                <a:latin typeface="+mn-lt"/>
              </a:rPr>
              <a:t>MEMORYBROKER_FOR_CACHE</a:t>
            </a:r>
            <a:r>
              <a:rPr lang="en-US" sz="900" dirty="0">
                <a:latin typeface="+mn-lt"/>
              </a:rPr>
              <a:t> : Memory that is allocated for use by cached objects (Not Buffer Pool cache).</a:t>
            </a:r>
            <a:br>
              <a:rPr lang="en-US" sz="900" dirty="0">
                <a:latin typeface="+mn-lt"/>
              </a:rPr>
            </a:br>
            <a:r>
              <a:rPr lang="en-US" sz="900" b="1" dirty="0">
                <a:latin typeface="+mn-lt"/>
              </a:rPr>
              <a:t>MEMORYBROKER_FOR_STEAL</a:t>
            </a:r>
            <a:r>
              <a:rPr lang="en-US" sz="900" dirty="0">
                <a:latin typeface="+mn-lt"/>
              </a:rPr>
              <a:t> : Memory that is stolen from the buffer pool. This memory is not available for reuse by other components until it is freed by the current owner.</a:t>
            </a:r>
            <a:br>
              <a:rPr lang="en-US" sz="900" dirty="0">
                <a:latin typeface="+mn-lt"/>
              </a:rPr>
            </a:br>
            <a:r>
              <a:rPr lang="en-US" sz="900" b="1" dirty="0">
                <a:latin typeface="+mn-lt"/>
              </a:rPr>
              <a:t>MEMORYBROKER_FOR_RESERVE</a:t>
            </a:r>
            <a:r>
              <a:rPr lang="en-US" sz="900" dirty="0">
                <a:latin typeface="+mn-lt"/>
              </a:rPr>
              <a:t> : Memory reserved for future use by currently executing requests.</a:t>
            </a:r>
            <a:br>
              <a:rPr lang="en-US" sz="900" dirty="0">
                <a:latin typeface="+mn-lt"/>
              </a:rPr>
            </a:br>
            <a:endParaRPr lang="en-US" sz="900" dirty="0">
              <a:latin typeface="+mn-lt"/>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This is one of those examples where you would have previously had to get a debugger to see a linked server to a 3rd party database, so here you can easily see what else has loaded in the SQL Server address space. </a:t>
            </a:r>
            <a:endParaRPr lang="en-US" dirty="0">
              <a:hlinkClick r:id="rId3"/>
            </a:endParaRPr>
          </a:p>
          <a:p>
            <a:endParaRPr lang="en-US" dirty="0">
              <a:hlinkClick r:id="rId3"/>
            </a:endParaRPr>
          </a:p>
          <a:p>
            <a:r>
              <a:rPr lang="en-US" dirty="0">
                <a:hlinkClick r:id="rId3"/>
              </a:rPr>
              <a:t>https://docs.microsoft.com/en-us/sql/relational-databases/system-dynamic-management-views/sys-dm-os-loaded-modules-transact-sql?view=sql-server-ver15</a:t>
            </a:r>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 You can use </a:t>
            </a:r>
            <a:r>
              <a:rPr lang="en-US" b="1" dirty="0"/>
              <a:t>sys.dm_os_memory_objects</a:t>
            </a:r>
            <a:r>
              <a:rPr lang="en-US" dirty="0"/>
              <a:t> to analyze memory use and to identify possible memory leak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4"/>
              </a:rPr>
              <a:t>https://docs.microsoft.com/en-us/sql/relational-databases/system-dynamic-management-views/sys-dm-os-memory-objects-transact-sql?view=sql-server-ver15</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1</a:t>
            </a:fld>
            <a:endParaRPr lang="en-US" noProof="0" dirty="0"/>
          </a:p>
        </p:txBody>
      </p:sp>
    </p:spTree>
    <p:extLst>
      <p:ext uri="{BB962C8B-B14F-4D97-AF65-F5344CB8AC3E}">
        <p14:creationId xmlns:p14="http://schemas.microsoft.com/office/powerpoint/2010/main" val="29863566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sql/relational-databases/extended-events/use-the-system-health-session?view=sql-server-ver15</a:t>
            </a:r>
            <a:endParaRPr lang="en-US" dirty="0"/>
          </a:p>
          <a:p>
            <a:endParaRPr lang="en-US" dirty="0"/>
          </a:p>
          <a:p>
            <a:r>
              <a:rPr lang="en-US" dirty="0">
                <a:hlinkClick r:id="rId4"/>
              </a:rPr>
              <a:t>https://docs.microsoft.com/en-us/archive/blogs/slavao/</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2</a:t>
            </a:fld>
            <a:endParaRPr lang="en-US" noProof="0" dirty="0"/>
          </a:p>
        </p:txBody>
      </p:sp>
    </p:spTree>
    <p:extLst>
      <p:ext uri="{BB962C8B-B14F-4D97-AF65-F5344CB8AC3E}">
        <p14:creationId xmlns:p14="http://schemas.microsoft.com/office/powerpoint/2010/main" val="363349589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an Out of Memory Error is detected, it is persisted in the SQL Server Error Log and a DBCC MEMORYSTATUS output is placed into the log for troubleshooting purposes.</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3</a:t>
            </a:fld>
            <a:endParaRPr lang="en-US" noProof="0" dirty="0"/>
          </a:p>
        </p:txBody>
      </p:sp>
    </p:spTree>
    <p:extLst>
      <p:ext uri="{BB962C8B-B14F-4D97-AF65-F5344CB8AC3E}">
        <p14:creationId xmlns:p14="http://schemas.microsoft.com/office/powerpoint/2010/main" val="388018682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900" b="1" dirty="0"/>
              <a:t>The files for this Lab are located at E:\Labfiles\</a:t>
            </a:r>
            <a:r>
              <a:rPr lang="en-US" b="1" dirty="0"/>
              <a:t>M02L03Lab0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9965991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a:t>
            </a:r>
            <a:r>
              <a:rPr lang="en-US" b="1" dirty="0"/>
              <a:t>socket</a:t>
            </a:r>
            <a:r>
              <a:rPr lang="en-US" dirty="0"/>
              <a:t> is a physical spot on the motherboard that can hold a processor chip.</a:t>
            </a:r>
          </a:p>
          <a:p>
            <a:r>
              <a:rPr lang="en-US" dirty="0"/>
              <a:t>A </a:t>
            </a:r>
            <a:r>
              <a:rPr lang="en-US" b="1" dirty="0"/>
              <a:t>processor chip </a:t>
            </a:r>
            <a:r>
              <a:rPr lang="en-US" dirty="0"/>
              <a:t>can have a single core, dual core, quad core, </a:t>
            </a:r>
            <a:r>
              <a:rPr lang="en-US" dirty="0" err="1"/>
              <a:t>etc</a:t>
            </a:r>
            <a:r>
              <a:rPr lang="en-US" dirty="0"/>
              <a:t>…</a:t>
            </a:r>
          </a:p>
          <a:p>
            <a:r>
              <a:rPr lang="en-US" dirty="0"/>
              <a:t>If a </a:t>
            </a:r>
            <a:r>
              <a:rPr lang="en-US" b="1" dirty="0"/>
              <a:t>core</a:t>
            </a:r>
            <a:r>
              <a:rPr lang="en-US" dirty="0"/>
              <a:t> allows more than one thread, it is hyper-threaded.</a:t>
            </a:r>
          </a:p>
          <a:p>
            <a:r>
              <a:rPr lang="en-US" dirty="0"/>
              <a:t>A </a:t>
            </a:r>
            <a:r>
              <a:rPr lang="en-US" b="1" dirty="0"/>
              <a:t>thread</a:t>
            </a:r>
            <a:r>
              <a:rPr lang="en-US" dirty="0"/>
              <a:t> is a communication line from the operating system to the CPU.</a:t>
            </a:r>
          </a:p>
          <a:p>
            <a:r>
              <a:rPr lang="en-US" b="1" i="0" dirty="0">
                <a:solidFill>
                  <a:srgbClr val="333333"/>
                </a:solidFill>
                <a:effectLst/>
                <a:latin typeface="OpenSansRegular"/>
              </a:rPr>
              <a:t>Hyperthreading</a:t>
            </a:r>
            <a:r>
              <a:rPr lang="en-US" b="0" i="0" dirty="0">
                <a:solidFill>
                  <a:srgbClr val="333333"/>
                </a:solidFill>
                <a:effectLst/>
                <a:latin typeface="OpenSansRegular"/>
              </a:rPr>
              <a:t> technology (HT) allows a CPU to use two threads simultaneously. </a:t>
            </a:r>
            <a:endParaRPr lang="en-US" dirty="0"/>
          </a:p>
          <a:p>
            <a:endParaRPr lang="en-US" dirty="0"/>
          </a:p>
          <a:p>
            <a:r>
              <a:rPr lang="en-US" dirty="0"/>
              <a:t>In the slide above there is one socket and one quad core, hyper-threaded processor chip. </a:t>
            </a:r>
          </a:p>
          <a:p>
            <a:r>
              <a:rPr lang="en-US" dirty="0"/>
              <a:t>Meaning this operating system will see eight logical processors.</a:t>
            </a:r>
          </a:p>
          <a:p>
            <a:endParaRPr lang="en-US" dirty="0"/>
          </a:p>
          <a:p>
            <a:r>
              <a:rPr lang="en-US" b="1" dirty="0"/>
              <a:t>Consider running the code below that can be found:</a:t>
            </a:r>
          </a:p>
          <a:p>
            <a:endParaRPr lang="en-US" b="1" dirty="0"/>
          </a:p>
          <a:p>
            <a:r>
              <a:rPr lang="en-US" sz="800" b="1" dirty="0"/>
              <a:t>You can open all the demonstrations by using the solutions file :</a:t>
            </a:r>
          </a:p>
          <a:p>
            <a:r>
              <a:rPr lang="en-US" sz="800" b="0" dirty="0"/>
              <a:t>E:\Demos\SQL_PTO_Workshop_Demos.ssmssln</a:t>
            </a:r>
          </a:p>
          <a:p>
            <a:endParaRPr lang="en-US" sz="800" b="1" dirty="0"/>
          </a:p>
          <a:p>
            <a:r>
              <a:rPr lang="en-US" sz="800" b="1" dirty="0"/>
              <a:t>Individual SQL demo file.</a:t>
            </a:r>
          </a:p>
          <a:p>
            <a:r>
              <a:rPr lang="en-US" sz="800" b="0" dirty="0"/>
              <a:t>E:\Demos\01_SQL_Architecture\</a:t>
            </a:r>
            <a:r>
              <a:rPr lang="en-US" b="0" dirty="0"/>
              <a:t>Use Overview of </a:t>
            </a:r>
            <a:r>
              <a:rPr lang="en-US" b="0" dirty="0" err="1"/>
              <a:t>DMVs.sql</a:t>
            </a:r>
            <a:endParaRPr lang="en-US" b="0" dirty="0"/>
          </a:p>
          <a:p>
            <a:endParaRPr lang="en-US" dirty="0"/>
          </a:p>
          <a:p>
            <a:endParaRPr lang="en-US" b="1" dirty="0"/>
          </a:p>
          <a:p>
            <a:r>
              <a:rPr lang="en-US" sz="1800" b="1" dirty="0">
                <a:solidFill>
                  <a:srgbClr val="008000"/>
                </a:solidFill>
                <a:latin typeface="Consolas" panose="020B0609020204030204" pitchFamily="49" charset="0"/>
              </a:rPr>
              <a:t>-- Locating Processor Counts</a:t>
            </a:r>
            <a:endParaRPr lang="en-US" sz="1800" b="1"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cpu_coun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hyperthread_ratio</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max_workers_coun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p>
          <a:p>
            <a:r>
              <a:rPr lang="en-US" sz="1800" dirty="0" err="1">
                <a:solidFill>
                  <a:srgbClr val="000000"/>
                </a:solidFill>
                <a:latin typeface="Consolas" panose="020B0609020204030204" pitchFamily="49" charset="0"/>
              </a:rPr>
              <a:t>scheduler_coun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cheduler_total_coun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os_quantum</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affinity_typ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affinity_type_desc</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softnuma_configuration</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oftnuma_configuration_desc</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socket_coun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cores_per_socke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numa_node_count</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sql_memory_model</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ql_memory_model_desc</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00FF00"/>
                </a:solidFill>
                <a:latin typeface="Consolas" panose="020B0609020204030204" pitchFamily="49" charset="0"/>
              </a:rPr>
              <a:t>dm_os_sys_info</a:t>
            </a:r>
            <a:endParaRPr lang="en-US" sz="1800" dirty="0">
              <a:solidFill>
                <a:srgbClr val="000000"/>
              </a:solidFill>
              <a:latin typeface="Consolas" panose="020B0609020204030204" pitchFamily="49" charset="0"/>
            </a:endParaRPr>
          </a:p>
          <a:p>
            <a:endParaRPr lang="en-US" sz="1800" dirty="0">
              <a:solidFill>
                <a:srgbClr val="000000"/>
              </a:solidFill>
              <a:latin typeface="Consolas" panose="020B0609020204030204" pitchFamily="49" charset="0"/>
            </a:endParaRPr>
          </a:p>
          <a:p>
            <a:r>
              <a:rPr lang="en-US" sz="1800" b="1" dirty="0">
                <a:solidFill>
                  <a:srgbClr val="008000"/>
                </a:solidFill>
                <a:latin typeface="Consolas" panose="020B0609020204030204" pitchFamily="49" charset="0"/>
              </a:rPr>
              <a:t>--Logical Processor Counts</a:t>
            </a:r>
            <a:endParaRPr lang="en-US" sz="1800" b="1"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EXEC</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800000"/>
                </a:solidFill>
                <a:latin typeface="Consolas" panose="020B0609020204030204" pitchFamily="49" charset="0"/>
              </a:rPr>
              <a:t>xp_readerrorlog</a:t>
            </a:r>
            <a:r>
              <a:rPr lang="en-US" sz="1800" dirty="0">
                <a:solidFill>
                  <a:srgbClr val="0000FF"/>
                </a:solidFill>
                <a:latin typeface="Consolas" panose="020B0609020204030204" pitchFamily="49" charset="0"/>
              </a:rPr>
              <a:t> </a:t>
            </a:r>
            <a:r>
              <a:rPr lang="en-US" sz="1800" dirty="0">
                <a:solidFill>
                  <a:srgbClr val="000000"/>
                </a:solidFill>
                <a:latin typeface="Consolas" panose="020B0609020204030204" pitchFamily="49" charset="0"/>
              </a:rPr>
              <a:t>0</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FF0000"/>
                </a:solidFill>
                <a:latin typeface="Consolas" panose="020B0609020204030204" pitchFamily="49" charset="0"/>
              </a:rPr>
              <a:t>N'detected</a:t>
            </a:r>
            <a:r>
              <a:rPr lang="en-US" sz="1800" dirty="0">
                <a:solidFill>
                  <a:srgbClr val="FF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FF0000"/>
                </a:solidFill>
                <a:latin typeface="Consolas" panose="020B0609020204030204" pitchFamily="49" charset="0"/>
              </a:rPr>
              <a:t>N'socket</a:t>
            </a:r>
            <a:r>
              <a:rPr lang="en-US" sz="1800" dirty="0">
                <a:solidFill>
                  <a:srgbClr val="FF0000"/>
                </a:solidFill>
                <a:latin typeface="Consolas" panose="020B0609020204030204" pitchFamily="49" charset="0"/>
              </a:rPr>
              <a:t>'</a:t>
            </a:r>
            <a:r>
              <a:rPr lang="en-US" sz="1800" dirty="0">
                <a:solidFill>
                  <a:srgbClr val="808080"/>
                </a:solidFill>
                <a:latin typeface="Consolas" panose="020B0609020204030204" pitchFamily="49" charset="0"/>
              </a:rPr>
              <a:t>;</a:t>
            </a:r>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a:p>
        </p:txBody>
      </p:sp>
    </p:spTree>
    <p:extLst>
      <p:ext uri="{BB962C8B-B14F-4D97-AF65-F5344CB8AC3E}">
        <p14:creationId xmlns:p14="http://schemas.microsoft.com/office/powerpoint/2010/main" val="296746990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dirty="0"/>
              <a:t>Q1: List three features that can be used to monitor memory usage?</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t>A1: Performance Monitor, DBCC MEMORYSTATUS, Dynamic Management Views</a:t>
            </a:r>
          </a:p>
          <a:p>
            <a:pPr lvl="0"/>
            <a:endParaRPr lang="en-US" sz="900" dirty="0"/>
          </a:p>
          <a:p>
            <a:pPr lvl="0"/>
            <a:r>
              <a:rPr lang="en-US" sz="900" dirty="0"/>
              <a:t>Q2: Which DMV allows you to view memory pressure?</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t>A2: </a:t>
            </a:r>
            <a:r>
              <a:rPr lang="en-US" sz="900" dirty="0" err="1"/>
              <a:t>sys.dm_os_ring_buffers</a:t>
            </a:r>
            <a:r>
              <a:rPr lang="en-US" sz="900" dirty="0"/>
              <a:t> or </a:t>
            </a:r>
            <a:r>
              <a:rPr lang="en-US" sz="900" dirty="0" err="1"/>
              <a:t>sys.dm_os_process_memory</a:t>
            </a:r>
            <a:endParaRPr lang="en-US" sz="900" dirty="0"/>
          </a:p>
          <a:p>
            <a:pPr lvl="0"/>
            <a:endParaRPr lang="en-US" sz="900" dirty="0"/>
          </a:p>
          <a:p>
            <a:pPr lvl="0"/>
            <a:r>
              <a:rPr lang="en-US" sz="900" dirty="0"/>
              <a:t>Q3: Which memory component is responsible for allocating memory?</a:t>
            </a:r>
          </a:p>
          <a:p>
            <a:pPr marL="0" indent="0">
              <a:buNone/>
            </a:pPr>
            <a:r>
              <a:rPr lang="en-US" dirty="0"/>
              <a:t>A3: Memory Clerks</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6</a:t>
            </a:fld>
            <a:endParaRPr lang="en-US" noProof="0" dirty="0"/>
          </a:p>
        </p:txBody>
      </p:sp>
    </p:spTree>
    <p:extLst>
      <p:ext uri="{BB962C8B-B14F-4D97-AF65-F5344CB8AC3E}">
        <p14:creationId xmlns:p14="http://schemas.microsoft.com/office/powerpoint/2010/main" val="39126924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Affinity Mask</a:t>
            </a:r>
          </a:p>
          <a:p>
            <a:r>
              <a:rPr lang="en-US" sz="1000" b="0" dirty="0"/>
              <a:t>The</a:t>
            </a:r>
            <a:r>
              <a:rPr lang="en-US" sz="1000" b="0" baseline="0" dirty="0"/>
              <a:t> affinity mask settings on most servers will be set to </a:t>
            </a:r>
            <a:r>
              <a:rPr lang="en-US" sz="1000" b="1" baseline="0" dirty="0"/>
              <a:t>0, </a:t>
            </a:r>
            <a:r>
              <a:rPr lang="en-US" sz="1000" b="0" baseline="0" dirty="0"/>
              <a:t>which allowed SQL Server to use all available CPUs on the server as and when needed. In some scenarios where you may not be running a dedicated server, you may want to split workloads to different sets of CPU</a:t>
            </a:r>
            <a:r>
              <a:rPr lang="en-US" sz="1000" dirty="0"/>
              <a:t>s</a:t>
            </a:r>
            <a:r>
              <a:rPr lang="en-US" sz="1000" b="0" baseline="0" dirty="0"/>
              <a:t>. For instance, if you have two SQL Server instances on a single machine, you may benefit from more predictable performance if each instance ran on its own subset of CPUs. As with all these configurations, </a:t>
            </a:r>
            <a:r>
              <a:rPr lang="en-US" sz="1000" dirty="0"/>
              <a:t>a good test plan is necessary to </a:t>
            </a:r>
            <a:r>
              <a:rPr lang="en-US" sz="1000" b="0" baseline="0" dirty="0"/>
              <a:t>know what is best for your environment.</a:t>
            </a:r>
          </a:p>
          <a:p>
            <a:endParaRPr lang="en-US" sz="1000" b="0" baseline="0" dirty="0"/>
          </a:p>
          <a:p>
            <a:r>
              <a:rPr lang="en-US" sz="1000" b="1" u="sng" baseline="0" dirty="0"/>
              <a:t>References:</a:t>
            </a:r>
          </a:p>
          <a:p>
            <a:pPr marL="171450" indent="-171450">
              <a:buFont typeface="Arial" panose="020B0604020202020204" pitchFamily="34" charset="0"/>
              <a:buChar char="•"/>
            </a:pPr>
            <a:r>
              <a:rPr lang="en-US" sz="1000" b="0" baseline="0" dirty="0"/>
              <a:t>affinity mask Server Configuration Option - htt</a:t>
            </a:r>
            <a:r>
              <a:rPr lang="en-US" sz="1000" b="0" u="sng" baseline="0" dirty="0"/>
              <a:t>ps://docs.microsoft.com/en-us/sql/database-engine/configure-windows/affinity-mask-server-configuration-option?view=sql-server-ver15</a:t>
            </a:r>
          </a:p>
          <a:p>
            <a:endParaRPr lang="en-US" sz="1000" b="0" baseline="0" dirty="0"/>
          </a:p>
          <a:p>
            <a:r>
              <a:rPr lang="en-US" sz="1000" b="1" baseline="0" dirty="0"/>
              <a:t>Cost Threshold for Parallelism</a:t>
            </a:r>
          </a:p>
          <a:p>
            <a:r>
              <a:rPr lang="en-US" sz="1000" b="0" baseline="0" dirty="0"/>
              <a:t>SQL Server uses the cost threshold for parallelism as the minimum cost to consider parallel plans. SQL Server tries to assign a cost value to each query plan as it tries to find the best plan for a given query. If the cost is below the Cost Threshold for Parallelism, parallel plans will not be looked at. Adjusting this threshold could result in more or less parallel plans and this can have a significant impact on performance. Generally, leaving this as the default is recommended, unless you have noticed an issue with the number of parallel plans being used by SQL Server for your workload.</a:t>
            </a:r>
          </a:p>
          <a:p>
            <a:pPr marL="0" marR="0" lvl="0" indent="0" algn="l" defTabSz="914400" rtl="0" eaLnBrk="1" fontAlgn="auto" latinLnBrk="0" hangingPunct="1">
              <a:lnSpc>
                <a:spcPct val="90000"/>
              </a:lnSpc>
              <a:spcBef>
                <a:spcPts val="333"/>
              </a:spcBef>
              <a:spcAft>
                <a:spcPts val="0"/>
              </a:spcAft>
              <a:buClrTx/>
              <a:buSzTx/>
              <a:buFontTx/>
              <a:buNone/>
              <a:tabLst/>
              <a:defRPr/>
            </a:pPr>
            <a:br>
              <a:rPr lang="en-US" sz="1000" b="0" baseline="0" dirty="0"/>
            </a:br>
            <a:r>
              <a:rPr lang="en-US" sz="1000" b="1" u="sng" baseline="0" dirty="0"/>
              <a:t>References:</a:t>
            </a:r>
          </a:p>
          <a:p>
            <a:pPr marL="171450" indent="-171450">
              <a:buFont typeface="Arial" panose="020B0604020202020204" pitchFamily="34" charset="0"/>
              <a:buChar char="•"/>
            </a:pPr>
            <a:r>
              <a:rPr lang="en-US" sz="1000" b="0" baseline="0" dirty="0"/>
              <a:t>Configure the cost threshold for parallelism Server Configuration Option - https://docs.microsoft.com/en-us/sql/database-engine/configure-windows/configure-the-cost-threshold-for-parallelism-server-configuration-option?view=sql-server-ver15</a:t>
            </a:r>
          </a:p>
          <a:p>
            <a:endParaRPr lang="en-US" sz="1000" b="0" baseline="0" dirty="0"/>
          </a:p>
          <a:p>
            <a:r>
              <a:rPr lang="en-US" sz="1000" b="1" baseline="0" dirty="0"/>
              <a:t>Max Worker Threads</a:t>
            </a:r>
          </a:p>
          <a:p>
            <a:r>
              <a:rPr lang="en-US" sz="1000" b="0" baseline="0" dirty="0"/>
              <a:t>This determines the number of worker threads SQL Server can use. By default, it is set to 0, meaning that SQL Server will decide the best number based on the number of CPU</a:t>
            </a:r>
            <a:r>
              <a:rPr lang="en-US" sz="1000" dirty="0"/>
              <a:t>s</a:t>
            </a:r>
            <a:r>
              <a:rPr lang="en-US" sz="1000" b="0" baseline="0" dirty="0"/>
              <a:t> on the server and the CPU architecture. As with most settings, this should rarely, if ever, be changed.   </a:t>
            </a:r>
          </a:p>
          <a:p>
            <a:endParaRPr lang="en-US" sz="1000" b="0" baseline="0"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1000" b="1" u="sng" baseline="0" dirty="0"/>
              <a:t>References:</a:t>
            </a:r>
          </a:p>
          <a:p>
            <a:pPr marL="171450" indent="-171450">
              <a:buFont typeface="Arial" panose="020B0604020202020204" pitchFamily="34" charset="0"/>
              <a:buChar char="•"/>
            </a:pPr>
            <a:r>
              <a:rPr lang="en-US" sz="1000" b="0" dirty="0"/>
              <a:t>Configure the max worker threads Server Configuration Option - </a:t>
            </a:r>
            <a:r>
              <a:rPr lang="en-US" sz="1000" b="0" u="sng" dirty="0"/>
              <a:t>https://docs.microsoft.com/en-us/sql/database-engine/configure-windows/configure-the-max-worker-threads-server-configuration-option?view=sql-server-ver15</a:t>
            </a:r>
          </a:p>
          <a:p>
            <a:pPr marL="171450" indent="-171450">
              <a:buFont typeface="Arial" panose="020B0604020202020204" pitchFamily="34" charset="0"/>
              <a:buChar char="•"/>
            </a:pPr>
            <a:r>
              <a:rPr lang="en-US" sz="1000" b="0" dirty="0"/>
              <a:t>How to determine proper SQL Server configuration settings - </a:t>
            </a:r>
            <a:r>
              <a:rPr lang="en-US" sz="1000" b="0" u="sng" dirty="0"/>
              <a:t>https://support.microsoft.com/en-us/help/319942/how-to-determine-proper-sql-server-configuration-settings</a:t>
            </a:r>
          </a:p>
          <a:p>
            <a:endParaRPr lang="en-US" sz="1000"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a:p>
        </p:txBody>
      </p:sp>
    </p:spTree>
    <p:extLst>
      <p:ext uri="{BB962C8B-B14F-4D97-AF65-F5344CB8AC3E}">
        <p14:creationId xmlns:p14="http://schemas.microsoft.com/office/powerpoint/2010/main" val="39204766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dirty="0">
                <a:latin typeface="+mn-lt"/>
              </a:rPr>
              <a:t>The Microsoft SQL Server max degree of parallelism (MAXDOP) configuration option controls the number of processors that are used for the execution of a query in a parallel plan. This option determines the number of threads that are used for the query plan operators that perform the work in parallel. Depending on whether SQL Server is set up on a symmetric multiprocessing (SMP) computer, a non-uniform memory access (NUMA) computer, or hyperthreading-enabled processors, you have to configure the max degree of parallelism option appropriately. This article discusses the general guidelines that you can use to configure the max degree of parallelism option for SQL Server when you use the </a:t>
            </a:r>
            <a:r>
              <a:rPr lang="en-US" sz="1000" b="0" dirty="0" err="1">
                <a:latin typeface="+mn-lt"/>
              </a:rPr>
              <a:t>sp_configure</a:t>
            </a:r>
            <a:r>
              <a:rPr lang="en-US" sz="1000" b="0" dirty="0">
                <a:latin typeface="+mn-lt"/>
              </a:rPr>
              <a:t> system stored procedure.</a:t>
            </a:r>
          </a:p>
          <a:p>
            <a:endParaRPr lang="en-US" sz="1000" b="0" dirty="0">
              <a:latin typeface="+mn-lt"/>
            </a:endParaRPr>
          </a:p>
          <a:p>
            <a:r>
              <a:rPr lang="en-US" sz="1000" b="0" dirty="0">
                <a:latin typeface="+mn-lt"/>
              </a:rPr>
              <a:t>The OPTION (MAXDOP) Transact-SQL query hints can override the max degree of parallelism option in the </a:t>
            </a:r>
            <a:r>
              <a:rPr lang="en-US" sz="1000" b="0" dirty="0" err="1">
                <a:latin typeface="+mn-lt"/>
              </a:rPr>
              <a:t>sp_configure</a:t>
            </a:r>
            <a:r>
              <a:rPr lang="en-US" sz="1000" b="0" dirty="0">
                <a:latin typeface="+mn-lt"/>
              </a:rPr>
              <a:t> value if the query specifies this option. In SQL Server 2008 and later versions, if the MAXDOP value exceeds the value that was configured by using the Resource Governor, the database engine uses the Resource Governor MAXDOP value. All semantic rules that are used with the max degree of parallelism option are applicable when you use the MAXDOP query hint. The other two options that can override or affect the MAXDOP setting are as follows:  </a:t>
            </a:r>
          </a:p>
          <a:p>
            <a:pPr marL="171450" indent="-171450">
              <a:buFont typeface="Arial" panose="020B0604020202020204" pitchFamily="34" charset="0"/>
              <a:buChar char="•"/>
            </a:pPr>
            <a:r>
              <a:rPr lang="en-US" sz="1000" b="0" dirty="0">
                <a:latin typeface="+mn-lt"/>
              </a:rPr>
              <a:t>Soft NUMA</a:t>
            </a:r>
          </a:p>
          <a:p>
            <a:pPr marL="171450" indent="-171450">
              <a:buFont typeface="Arial" panose="020B0604020202020204" pitchFamily="34" charset="0"/>
              <a:buChar char="•"/>
            </a:pPr>
            <a:r>
              <a:rPr lang="en-US" sz="1000" b="0" dirty="0">
                <a:latin typeface="+mn-lt"/>
              </a:rPr>
              <a:t>Parallel index operations</a:t>
            </a:r>
          </a:p>
          <a:p>
            <a:r>
              <a:rPr lang="en-US" sz="1000" b="0" dirty="0">
                <a:latin typeface="+mn-lt"/>
              </a:rPr>
              <a:t>The max degree of parallelism configuration option does not limit the number of processors that SQL Server uses. To configure the number of processors that SQL Server uses, use the affinity mask configuration option.</a:t>
            </a:r>
          </a:p>
          <a:p>
            <a:r>
              <a:rPr lang="en-US" sz="1000" b="0" dirty="0">
                <a:latin typeface="+mn-lt"/>
              </a:rPr>
              <a:t>The MAXDOP setting applies to each operator of the plan (e.g. Clustered Index Scan). Each step will use one CPU or the number of CPUs that is specified by MAXDOP and never anything in between. If multiple operators of a plan execute concurrently in parallel, the total number of threads that are used by the query may exceed the MAXDOP setting specified. </a:t>
            </a:r>
          </a:p>
          <a:p>
            <a:endParaRPr lang="en-US" sz="1000" b="0" dirty="0">
              <a:latin typeface="+mn-lt"/>
            </a:endParaRPr>
          </a:p>
          <a:p>
            <a:r>
              <a:rPr lang="en-US" sz="1000" b="0" dirty="0">
                <a:latin typeface="+mn-lt"/>
              </a:rPr>
              <a:t>Starting with SQL Server 2016 (13.x), during service startup if the Database Engine detects more than eight physical cores per NUMA node or socket at startup, soft-NUMA nodes are created automatically by default. The Database Engine takes care of placing logical processors from the same physical core into different soft-NUMA nodes. The recommendations in the table below are aimed at keeping all the worker threads of a parallel query within the same soft-NUMA node. This will improve the performance of the queries and distribution of worker threads across the NUMA nodes for the workload. </a:t>
            </a:r>
          </a:p>
          <a:p>
            <a:endParaRPr lang="en-US" sz="1000" b="0" dirty="0">
              <a:latin typeface="+mn-lt"/>
            </a:endParaRPr>
          </a:p>
          <a:p>
            <a:r>
              <a:rPr lang="en-US" sz="1000" b="0" dirty="0">
                <a:latin typeface="+mn-lt"/>
              </a:rPr>
              <a:t>The maximum value of 8 that is mentioned in these guidelines is applicable for typical SQL Server activity and the overhead for the exchange operators that are used in parallel query plans. You can vary this maximum value, depending on your specific application patterns and the concurrent activity on the instance of SQL Server. For example, consider the following situations:</a:t>
            </a:r>
          </a:p>
          <a:p>
            <a:pPr marL="171450" indent="-171450">
              <a:buFont typeface="Arial" panose="020B0604020202020204" pitchFamily="34" charset="0"/>
              <a:buChar char="•"/>
            </a:pPr>
            <a:r>
              <a:rPr lang="en-US" sz="1000" b="0" dirty="0">
                <a:latin typeface="+mn-lt"/>
              </a:rPr>
              <a:t>If you have very small number of queries that are executing at the same time compared with the number of processors, you can set the MAXDOP value to a larger value. For example, you can set the MAXDOP value to 16.</a:t>
            </a:r>
          </a:p>
          <a:p>
            <a:pPr marL="171450" indent="-171450">
              <a:buFont typeface="Arial" panose="020B0604020202020204" pitchFamily="34" charset="0"/>
              <a:buChar char="•"/>
            </a:pPr>
            <a:r>
              <a:rPr lang="en-US" sz="1000" b="0" dirty="0">
                <a:latin typeface="+mn-lt"/>
              </a:rPr>
              <a:t>If you a have very large number of queries that are executing at the same time compared with the number of processors, you can set the MAXDOP value to a smaller value. For example, you can set the MAXDOP value to 4. </a:t>
            </a:r>
          </a:p>
          <a:p>
            <a:endParaRPr lang="en-US" sz="1000" b="1" dirty="0">
              <a:latin typeface="+mn-lt"/>
            </a:endParaRPr>
          </a:p>
          <a:p>
            <a:r>
              <a:rPr lang="en-US" sz="1000" b="1" dirty="0">
                <a:latin typeface="+mn-lt"/>
              </a:rPr>
              <a:t>Note:</a:t>
            </a:r>
            <a:r>
              <a:rPr lang="en-US" sz="1000" b="0" dirty="0">
                <a:latin typeface="+mn-lt"/>
              </a:rPr>
              <a:t> Any value that you consider using should be thoroughly tested against the specific application activity or pattern of queries before you implement that value on a production server. </a:t>
            </a:r>
          </a:p>
          <a:p>
            <a:endParaRPr lang="en-US" sz="1000" dirty="0">
              <a:latin typeface="+mn-lt"/>
            </a:endParaRPr>
          </a:p>
          <a:p>
            <a:r>
              <a:rPr lang="en-US" sz="1000" b="1" u="sng" dirty="0">
                <a:latin typeface="+mn-lt"/>
              </a:rPr>
              <a:t>References:</a:t>
            </a:r>
          </a:p>
          <a:p>
            <a:pPr marL="171450" indent="-171450">
              <a:buFont typeface="Arial" pitchFamily="34" charset="0"/>
              <a:buChar char="•"/>
            </a:pPr>
            <a:r>
              <a:rPr lang="en-US" sz="1000" b="0" kern="1200" dirty="0">
                <a:solidFill>
                  <a:schemeClr val="tx1"/>
                </a:solidFill>
                <a:effectLst/>
                <a:latin typeface="+mn-lt"/>
                <a:ea typeface="+mn-ea"/>
                <a:cs typeface="+mn-cs"/>
              </a:rPr>
              <a:t>Recommendations and guidelines for the "max degree of parallelism" configuration option in SQL Server - </a:t>
            </a:r>
            <a:r>
              <a:rPr lang="en-US" sz="2000" dirty="0">
                <a:hlinkClick r:id="rId3"/>
              </a:rPr>
              <a:t>Configure the max degree of parallelism (server configuration option) - SQL Server | Microsoft Learn</a:t>
            </a:r>
            <a:endParaRPr lang="en-US" sz="1000" dirty="0"/>
          </a:p>
          <a:p>
            <a:pPr marL="171450" indent="-171450">
              <a:buFont typeface="Arial" pitchFamily="34" charset="0"/>
              <a:buChar char="•"/>
            </a:pPr>
            <a:r>
              <a:rPr lang="en-US" sz="1000" dirty="0"/>
              <a:t>Configure the “max degree of parallelism”: </a:t>
            </a:r>
            <a:r>
              <a:rPr lang="en-US" sz="1000" dirty="0">
                <a:hlinkClick r:id="rId4"/>
              </a:rPr>
              <a:t>https://support.microsoft.com/en-us/help/2806535/recommendations-and-guidelines-for-the-max-degree-of-parallelism-confi</a:t>
            </a:r>
            <a:endParaRPr lang="en-US" sz="1000" dirty="0"/>
          </a:p>
          <a:p>
            <a:pPr marL="171450" indent="-171450">
              <a:buFont typeface="Arial" pitchFamily="34" charset="0"/>
              <a:buChar char="•"/>
            </a:pPr>
            <a:r>
              <a:rPr lang="en-US" sz="1000" b="0" dirty="0">
                <a:effectLst/>
                <a:latin typeface="+mn-lt"/>
              </a:rPr>
              <a:t>Understanding and Controlling Parallel Query Processing in SQL Server - </a:t>
            </a:r>
            <a:r>
              <a:rPr lang="en-US" sz="1000" b="0" u="sng" dirty="0">
                <a:effectLst/>
                <a:latin typeface="+mn-lt"/>
              </a:rPr>
              <a:t>http://msdn.microsoft.com/en-us/library/gg415714.aspx</a:t>
            </a:r>
          </a:p>
          <a:p>
            <a:endParaRPr lang="en-US" sz="1000" dirty="0">
              <a:latin typeface="+mn-lt"/>
            </a:endParaRPr>
          </a:p>
          <a:p>
            <a:endParaRPr lang="en-US" sz="1000" dirty="0">
              <a:latin typeface="+mn-lt"/>
            </a:endParaRP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a:p>
        </p:txBody>
      </p:sp>
    </p:spTree>
    <p:extLst>
      <p:ext uri="{BB962C8B-B14F-4D97-AF65-F5344CB8AC3E}">
        <p14:creationId xmlns:p14="http://schemas.microsoft.com/office/powerpoint/2010/main" val="36884334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b="1" dirty="0"/>
              <a:t>SOS_SCHEDULER_YIELD</a:t>
            </a:r>
            <a:r>
              <a:rPr lang="en-US" dirty="0"/>
              <a:t> = Might indicate CPU pressure if there is a very high overall percentage</a:t>
            </a:r>
            <a:r>
              <a:rPr lang="en-US" dirty="0">
                <a:latin typeface="Segoe UI Light" panose="020B0502040204020203" pitchFamily="34" charset="0"/>
                <a:cs typeface="Segoe UI Light" panose="020B0502040204020203" pitchFamily="34" charset="0"/>
              </a:rPr>
              <a:t> of Processor Time</a:t>
            </a:r>
            <a:r>
              <a:rPr lang="en-US" dirty="0"/>
              <a:t>. Check yielding conditions in </a:t>
            </a:r>
            <a:r>
              <a:rPr lang="en-US" dirty="0">
                <a:hlinkClick r:id="rId4"/>
              </a:rPr>
              <a:t>http://technet.microsoft.com/en-us/library/cc917684.aspx</a:t>
            </a:r>
            <a:r>
              <a:rPr lang="en-US" dirty="0"/>
              <a:t> </a:t>
            </a:r>
          </a:p>
          <a:p>
            <a:pPr>
              <a:defRPr/>
            </a:pPr>
            <a:endParaRPr lang="en-US" b="1"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1" dirty="0"/>
              <a:t>CXPACKET</a:t>
            </a:r>
            <a:r>
              <a:rPr lang="en-US" dirty="0"/>
              <a:t> = If </a:t>
            </a:r>
            <a:r>
              <a:rPr lang="en-US" sz="900" dirty="0">
                <a:solidFill>
                  <a:srgbClr val="000000"/>
                </a:solidFill>
                <a:latin typeface="Segoe UI Light" panose="020B0502040204020203" pitchFamily="34" charset="0"/>
                <a:ea typeface="+mn-ea"/>
                <a:cs typeface="Segoe UI Light" panose="020B0502040204020203" pitchFamily="34" charset="0"/>
              </a:rPr>
              <a:t>online transaction processing </a:t>
            </a:r>
            <a:r>
              <a:rPr lang="en-US" dirty="0"/>
              <a:t>(OLTP), check for parallelism issues if above 20 pct. If combined with a high number of PAGEIOLATCH_XX waits, it could be large parallel table scans going on because of incorrect non-clustered indexes, or out-of-date statistics causing a bad query plan. Check </a:t>
            </a:r>
            <a:r>
              <a:rPr lang="en-US" dirty="0" err="1"/>
              <a:t>Waiting_tasks</a:t>
            </a:r>
            <a:r>
              <a:rPr lang="en-US" dirty="0"/>
              <a:t> for Exchange wait types in </a:t>
            </a:r>
            <a:r>
              <a:rPr lang="en-US" dirty="0">
                <a:hlinkClick r:id="rId5"/>
              </a:rPr>
              <a:t>http://technet.microsoft.com/en-us/library/ms188743.aspx</a:t>
            </a:r>
            <a:r>
              <a:rPr lang="en-US" dirty="0"/>
              <a:t>;</a:t>
            </a:r>
          </a:p>
          <a:p>
            <a:pPr marL="171450" indent="-171450">
              <a:buFont typeface="Arial" panose="020B0604020202020204" pitchFamily="34" charset="0"/>
              <a:buChar char="•"/>
            </a:pPr>
            <a:r>
              <a:rPr lang="en-US" dirty="0"/>
              <a:t>Wait Resource </a:t>
            </a:r>
            <a:r>
              <a:rPr lang="en-US" dirty="0" err="1"/>
              <a:t>e_waitPipeNewRow</a:t>
            </a:r>
            <a:r>
              <a:rPr lang="en-US" dirty="0"/>
              <a:t> in CXPACKET waits – Producer waiting on consumer for a packet to fill.</a:t>
            </a:r>
          </a:p>
          <a:p>
            <a:pPr marL="171450" indent="-171450">
              <a:buFont typeface="Arial" panose="020B0604020202020204" pitchFamily="34" charset="0"/>
              <a:buChar char="•"/>
            </a:pPr>
            <a:r>
              <a:rPr lang="en-US" dirty="0"/>
              <a:t>Wait Resource </a:t>
            </a:r>
            <a:r>
              <a:rPr lang="en-US" dirty="0" err="1"/>
              <a:t>e_waitPipeGetRow</a:t>
            </a:r>
            <a:r>
              <a:rPr lang="en-US" dirty="0"/>
              <a:t> in CXPACKET waits – Consumer waiting on producer to fill a packet.</a:t>
            </a:r>
          </a:p>
          <a:p>
            <a:endParaRPr lang="en-US" dirty="0"/>
          </a:p>
          <a:p>
            <a:pPr lvl="0">
              <a:defRPr/>
            </a:pPr>
            <a:endParaRPr lang="en-US" b="1" dirty="0"/>
          </a:p>
          <a:p>
            <a:r>
              <a:rPr lang="en-US" b="1" dirty="0"/>
              <a:t>Why must parallel queries wait?</a:t>
            </a:r>
          </a:p>
          <a:p>
            <a:r>
              <a:rPr lang="en-US" dirty="0"/>
              <a:t>SQL Server will parallelize a query by dividing each operation into equal-sized sets for processing. These sets are then split up into multiple threads targeting specific processors. This allows each thread to be executed in parallel by each of the processors. Even with SQL Server splitting up the work into equal sized pieces, it is still impossible for all of the threads to complete at exactly the same time to prevent one or more of the threads from experiencing CXPACKET waits. In short, if you have parallel query execution, you will have CXPACKET waits. </a:t>
            </a:r>
          </a:p>
          <a:p>
            <a:endParaRPr lang="en-GB" dirty="0"/>
          </a:p>
          <a:p>
            <a:endParaRPr lang="en-US" dirty="0"/>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Rectangular Callout 8"/>
          <p:cNvSpPr/>
          <p:nvPr/>
        </p:nvSpPr>
        <p:spPr>
          <a:xfrm>
            <a:off x="457200" y="2796363"/>
            <a:ext cx="2241235" cy="1318437"/>
          </a:xfrm>
          <a:prstGeom prst="wedgeRectCallout">
            <a:avLst>
              <a:gd name="adj1" fmla="val -11420"/>
              <a:gd name="adj2" fmla="val 7352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onsider replacing all the “=“ symbols with a colon :</a:t>
            </a:r>
          </a:p>
        </p:txBody>
      </p:sp>
      <p:sp>
        <p:nvSpPr>
          <p:cNvPr id="10" name="Rectangular Callout 9"/>
          <p:cNvSpPr/>
          <p:nvPr/>
        </p:nvSpPr>
        <p:spPr>
          <a:xfrm>
            <a:off x="6019800" y="3429000"/>
            <a:ext cx="2241235" cy="1318437"/>
          </a:xfrm>
          <a:prstGeom prst="wedgeRectCallout">
            <a:avLst>
              <a:gd name="adj1" fmla="val -66385"/>
              <a:gd name="adj2" fmla="val 7400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Define PFS, GAM and SGAM at the first instance</a:t>
            </a:r>
          </a:p>
        </p:txBody>
      </p:sp>
    </p:spTree>
    <p:extLst>
      <p:ext uri="{BB962C8B-B14F-4D97-AF65-F5344CB8AC3E}">
        <p14:creationId xmlns:p14="http://schemas.microsoft.com/office/powerpoint/2010/main" val="1588645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a:latin typeface="Segoe UI" panose="020B0502040204020203" pitchFamily="34" charset="0"/>
                <a:cs typeface="Segoe UI" panose="020B0502040204020203" pitchFamily="34" charset="0"/>
              </a:rPr>
              <a:t>% Processor Time</a:t>
            </a:r>
            <a:r>
              <a:rPr lang="en-US" sz="900">
                <a:latin typeface="Segoe UI" panose="020B0502040204020203" pitchFamily="34" charset="0"/>
                <a:cs typeface="Segoe UI" panose="020B0502040204020203" pitchFamily="34" charset="0"/>
              </a:rPr>
              <a:t>: It is the percentage of elapsed time that the processor spends to execute a non-Idle thread. It is calculated by measuring the duration the idle thread is active in the sample interval, and subtracting that time from the interval duration. This counter is the primary indicator of processor activity and displays the average percentage of busy time observed during the sample interval. % Processor Time is the sum of % User Time and % Privileged Time unless there is hardware involvement in the form of interrupts and/or deferred procedure calls (DPCs).</a:t>
            </a:r>
          </a:p>
          <a:p>
            <a:r>
              <a:rPr lang="en-US" sz="900" b="1">
                <a:latin typeface="Segoe UI" panose="020B0502040204020203" pitchFamily="34" charset="0"/>
                <a:cs typeface="Segoe UI" panose="020B0502040204020203" pitchFamily="34" charset="0"/>
              </a:rPr>
              <a:t>Disk Transfers/sec</a:t>
            </a:r>
            <a:r>
              <a:rPr lang="en-US" sz="900">
                <a:latin typeface="Segoe UI" panose="020B0502040204020203" pitchFamily="34" charset="0"/>
                <a:cs typeface="Segoe UI" panose="020B0502040204020203" pitchFamily="34" charset="0"/>
              </a:rPr>
              <a:t>: It is the rate of read and write operations on the disk and is the number of IO operations per second (IOPS) according to the operating system. If hardware </a:t>
            </a:r>
            <a:r>
              <a:rPr lang="en-US" sz="900">
                <a:solidFill>
                  <a:srgbClr val="FF0000"/>
                </a:solidFill>
                <a:latin typeface="Segoe UI" panose="020B0502040204020203" pitchFamily="34" charset="0"/>
                <a:cs typeface="Segoe UI" panose="020B0502040204020203" pitchFamily="34" charset="0"/>
              </a:rPr>
              <a:t>redundant array of inexpensive disks (RAID)</a:t>
            </a:r>
            <a:r>
              <a:rPr lang="en-US" sz="900">
                <a:latin typeface="Segoe UI" panose="020B0502040204020203" pitchFamily="34" charset="0"/>
                <a:cs typeface="Segoe UI" panose="020B0502040204020203" pitchFamily="34" charset="0"/>
              </a:rPr>
              <a:t> is used, then keep in mind that the hardware IOPS will be different. For example, hardware RAID1 (mirror set) will have hardware IOPS of (1 x Read) + (2 x Write).</a:t>
            </a:r>
          </a:p>
          <a:p>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0361785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12</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29/2024</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71976018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1898920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791927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94013230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787422820"/>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5021069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0343429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1945950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8395845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84607758"/>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69344977"/>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11499033"/>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8124647"/>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92609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5286189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2623457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8815411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2520441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6130084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5131916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3791933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2049249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6338251"/>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8424968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4379027"/>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53177453"/>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914237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776235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6687595"/>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617484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3185309779"/>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29475060"/>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007132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6725425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2311656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spTree>
    <p:extLst>
      <p:ext uri="{BB962C8B-B14F-4D97-AF65-F5344CB8AC3E}">
        <p14:creationId xmlns:p14="http://schemas.microsoft.com/office/powerpoint/2010/main" val="2713452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4470448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84323635"/>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8511160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69867846"/>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0540811"/>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5060406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8576809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9047204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0795197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745190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56557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847916"/>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585472039"/>
      </p:ext>
    </p:extLst>
  </p:cSld>
  <p:clrMapOvr>
    <a:masterClrMapping/>
  </p:clrMapOvr>
  <p:transition>
    <p:fade/>
  </p:transition>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413854147"/>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5535984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94746588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415010865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9972018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36908360"/>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4427932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392590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832980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45454600"/>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27287179"/>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62263537"/>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84025477"/>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8311618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3945376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6703844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84614194"/>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7029446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78838314"/>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782523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1202381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5227421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1929855"/>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4441000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2979186"/>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F37839A6-37BF-626F-C795-AFE9CDBB3872}"/>
              </a:ext>
            </a:extLst>
          </p:cNvPr>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7092510"/>
      </p:ext>
    </p:extLst>
  </p:cSld>
  <p:clrMapOvr>
    <a:masterClrMapping/>
  </p:clrMapOvr>
  <p:transition>
    <p:fade/>
  </p:transition>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60315"/>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9589397"/>
      </p:ext>
    </p:extLst>
  </p:cSld>
  <p:clrMapOvr>
    <a:masterClrMapping/>
  </p:clrMapOvr>
  <p:transition>
    <p:fade/>
  </p:transition>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050301"/>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65890040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2413898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2" name="Text Box 3">
            <a:extLst>
              <a:ext uri="{FF2B5EF4-FFF2-40B4-BE49-F238E27FC236}">
                <a16:creationId xmlns:a16="http://schemas.microsoft.com/office/drawing/2014/main" id="{56803A98-9DCE-35BD-B396-3FB3B7B63B57}"/>
              </a:ext>
            </a:extLst>
          </p:cNvPr>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a:extLst>
              <a:ext uri="{FF2B5EF4-FFF2-40B4-BE49-F238E27FC236}">
                <a16:creationId xmlns:a16="http://schemas.microsoft.com/office/drawing/2014/main" id="{A2374295-3368-9B8F-62AE-A5406D917B6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703020378"/>
      </p:ext>
    </p:extLst>
  </p:cSld>
  <p:clrMapOvr>
    <a:masterClrMapping/>
  </p:clrMapOvr>
  <p:transition>
    <p:fade/>
  </p:transition>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844313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6359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74064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667157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a:solidFill>
                  <a:schemeClr val="tx1"/>
                </a:solidFill>
              </a:rPr>
              <a:t>Demonstration:</a:t>
            </a:r>
            <a:r>
              <a:rPr lang="en-US">
                <a:solidFill>
                  <a:schemeClr val="tx1"/>
                </a:solidFill>
              </a:rPr>
              <a:t> </a:t>
            </a:r>
            <a:br>
              <a:rPr lang="en-US">
                <a:solidFill>
                  <a:schemeClr val="tx1"/>
                </a:solidFill>
              </a:rPr>
            </a:br>
            <a:r>
              <a:rPr lang="en-US">
                <a:solidFill>
                  <a:schemeClr val="tx1"/>
                </a:solidFill>
              </a:rPr>
              <a:t>Demo Title</a:t>
            </a:r>
          </a:p>
        </p:txBody>
      </p:sp>
    </p:spTree>
    <p:extLst>
      <p:ext uri="{BB962C8B-B14F-4D97-AF65-F5344CB8AC3E}">
        <p14:creationId xmlns:p14="http://schemas.microsoft.com/office/powerpoint/2010/main" val="2451061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66130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2925823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91949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3468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608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46596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649191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004B1C"/>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119783909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145348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822296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1"/>
            <a:ext cx="2844800" cy="365125"/>
          </a:xfrm>
          <a:prstGeom prst="rect">
            <a:avLst/>
          </a:prstGeom>
        </p:spPr>
        <p:txBody>
          <a:bodyPr vert="horz" lIns="182854" tIns="45713" rIns="182854" bIns="45713"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8329039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022932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In this Lesson you will learn the following:</a:t>
            </a:r>
          </a:p>
          <a:p>
            <a:pPr lvl="1"/>
            <a:r>
              <a:rPr lang="en-US"/>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5</a:t>
            </a:r>
          </a:p>
          <a:p>
            <a:pPr lvl="1"/>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Lesson Objectives</a:t>
            </a:r>
          </a:p>
        </p:txBody>
      </p:sp>
    </p:spTree>
    <p:extLst>
      <p:ext uri="{BB962C8B-B14F-4D97-AF65-F5344CB8AC3E}">
        <p14:creationId xmlns:p14="http://schemas.microsoft.com/office/powerpoint/2010/main" val="184948866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5262716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4454705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DB13B488-B663-6B8F-1575-2511D7DB53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606568322"/>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60957B85-CBB0-7031-6789-56BC144BF4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451800677"/>
      </p:ext>
    </p:extLst>
  </p:cSld>
  <p:clrMapOvr>
    <a:masterClrMapping/>
  </p:clrMapOvr>
  <p:hf sldNum="0" hdr="0" ftr="0" dt="0"/>
  <p:extLst>
    <p:ext uri="{DCECCB84-F9BA-43D5-87BE-67443E8EF086}">
      <p15:sldGuideLst xmlns:p15="http://schemas.microsoft.com/office/powerpoint/2012/main">
        <p15:guide id="15" orient="horz" pos="2160" userDrawn="1">
          <p15:clr>
            <a:srgbClr val="FFFFFF"/>
          </p15:clr>
        </p15:guide>
        <p15:guide id="16" pos="413" userDrawn="1">
          <p15:clr>
            <a:srgbClr val="FFFFFF"/>
          </p15:clr>
        </p15:guide>
        <p15:guide id="17" pos="3168" userDrawn="1">
          <p15:clr>
            <a:srgbClr val="FFFFFF"/>
          </p15:clr>
        </p15:guide>
        <p15:guide id="18" orient="horz" pos="1572" userDrawn="1">
          <p15:clr>
            <a:srgbClr val="FFFFFF"/>
          </p15:clr>
        </p15:guide>
        <p15:guide id="19" orient="horz" pos="2258" userDrawn="1">
          <p15:clr>
            <a:srgbClr val="FFFFFF"/>
          </p15:clr>
        </p15:guide>
        <p15:guide id="20" orient="horz" pos="2454" userDrawn="1">
          <p15:clr>
            <a:srgbClr val="FFFFFF"/>
          </p15:clr>
        </p15:guide>
        <p15:guide id="21" orient="horz" pos="2650" userDrawn="1">
          <p15:clr>
            <a:srgbClr val="FFFF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15FC660A-354C-01B4-A1CA-01DF953AF0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517362887"/>
      </p:ext>
    </p:extLst>
  </p:cSld>
  <p:clrMapOvr>
    <a:masterClrMapping/>
  </p:clrMapOvr>
  <p:hf sldNum="0" hdr="0" ftr="0" dt="0"/>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39067441-59DB-5DAD-8B97-296464C21DF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7924059"/>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254228FB-C4DC-D53F-7AD8-C2EE6BD487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265321905"/>
      </p:ext>
    </p:extLst>
  </p:cSld>
  <p:clrMapOvr>
    <a:masterClrMapping/>
  </p:clrMapOvr>
  <p:hf sldNum="0" hdr="0" ftr="0" dt="0"/>
  <p:extLst>
    <p:ext uri="{DCECCB84-F9BA-43D5-87BE-67443E8EF086}">
      <p15:sldGuideLst xmlns:p15="http://schemas.microsoft.com/office/powerpoint/2012/main">
        <p15:guide id="16" orient="horz" pos="2160" userDrawn="1">
          <p15:clr>
            <a:srgbClr val="A4A3A4"/>
          </p15:clr>
        </p15:guide>
        <p15:guide id="17" orient="horz" pos="2258" userDrawn="1">
          <p15:clr>
            <a:srgbClr val="547EBF"/>
          </p15:clr>
        </p15:guide>
        <p15:guide id="18" orient="horz" pos="1866" userDrawn="1">
          <p15:clr>
            <a:srgbClr val="547EBF"/>
          </p15:clr>
        </p15:guide>
        <p15:guide id="19" orient="horz" pos="2650" userDrawn="1">
          <p15:clr>
            <a:srgbClr val="547EBF"/>
          </p15:clr>
        </p15:guide>
        <p15:guide id="20" orient="horz" pos="2454" userDrawn="1">
          <p15:clr>
            <a:srgbClr val="547EBF"/>
          </p15:clr>
        </p15:guide>
        <p15:guide id="21" pos="413" userDrawn="1">
          <p15:clr>
            <a:srgbClr val="547EBF"/>
          </p15:clr>
        </p15:guide>
        <p15:guide id="22" pos="6092" userDrawn="1">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05381203"/>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88229396"/>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5552652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659099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3587850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705003"/>
      </p:ext>
    </p:extLst>
  </p:cSld>
  <p:clrMapOvr>
    <a:masterClrMapping/>
  </p:clrMapOvr>
  <p:hf sldNum="0" hdr="0" ftr="0" dt="0"/>
  <p:extLst>
    <p:ext uri="{DCECCB84-F9BA-43D5-87BE-67443E8EF086}">
      <p15:sldGuideLst xmlns:p15="http://schemas.microsoft.com/office/powerpoint/2012/main">
        <p15:guide id="19" pos="413" userDrawn="1">
          <p15:clr>
            <a:srgbClr val="547EBF"/>
          </p15:clr>
        </p15:guide>
        <p15:guide id="20" orient="horz" pos="789" userDrawn="1">
          <p15:clr>
            <a:srgbClr val="547EBF"/>
          </p15:clr>
        </p15:guide>
        <p15:guide id="21" orient="horz" pos="887" userDrawn="1">
          <p15:clr>
            <a:srgbClr val="547EBF"/>
          </p15:clr>
        </p15:guide>
        <p15:guide id="22" pos="3742" userDrawn="1">
          <p15:clr>
            <a:srgbClr val="547EBF"/>
          </p15:clr>
        </p15:guide>
        <p15:guide id="23" pos="3938" userDrawn="1">
          <p15:clr>
            <a:srgbClr val="547EBF"/>
          </p15:clr>
        </p15:guide>
        <p15:guide id="24" pos="7267" userDrawn="1">
          <p15:clr>
            <a:srgbClr val="547EBF"/>
          </p15:clr>
        </p15:guide>
        <p15:guide id="25" orient="horz" pos="495" userDrawn="1">
          <p15:clr>
            <a:srgbClr val="547EBF"/>
          </p15:clr>
        </p15:guide>
        <p15:guide id="26" orient="horz" pos="202" userDrawn="1">
          <p15:clr>
            <a:srgbClr val="547EBF"/>
          </p15:clr>
        </p15:guide>
        <p15:guide id="27" orient="horz" pos="3923" userDrawn="1">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7894206"/>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993001336"/>
      </p:ext>
    </p:extLst>
  </p:cSld>
  <p:clrMapOvr>
    <a:masterClrMapping/>
  </p:clrMapOvr>
  <p:hf sldNum="0" hdr="0" ftr="0" dt="0"/>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814824454"/>
      </p:ext>
    </p:extLst>
  </p:cSld>
  <p:clrMapOvr>
    <a:masterClrMapping/>
  </p:clrMapOvr>
  <p:hf sldNum="0" hdr="0" ftr="0" dt="0"/>
  <p:extLst>
    <p:ext uri="{DCECCB84-F9BA-43D5-87BE-67443E8EF086}">
      <p15:sldGuideLst xmlns:p15="http://schemas.microsoft.com/office/powerpoint/2012/main">
        <p15:guide id="59" pos="413" userDrawn="1">
          <p15:clr>
            <a:srgbClr val="547EBF"/>
          </p15:clr>
        </p15:guide>
        <p15:guide id="60" orient="horz" pos="887" userDrawn="1">
          <p15:clr>
            <a:srgbClr val="547EBF"/>
          </p15:clr>
        </p15:guide>
        <p15:guide id="61" orient="horz" pos="789" userDrawn="1">
          <p15:clr>
            <a:srgbClr val="547EBF"/>
          </p15:clr>
        </p15:guide>
        <p15:guide id="62" orient="horz" pos="495" userDrawn="1">
          <p15:clr>
            <a:srgbClr val="547EBF"/>
          </p15:clr>
        </p15:guide>
        <p15:guide id="63" orient="horz" pos="202" userDrawn="1">
          <p15:clr>
            <a:srgbClr val="547EBF"/>
          </p15:clr>
        </p15:guide>
        <p15:guide id="64" orient="horz" pos="3923" userDrawn="1">
          <p15:clr>
            <a:srgbClr val="547EBF"/>
          </p15:clr>
        </p15:guide>
        <p15:guide id="65" pos="804" userDrawn="1">
          <p15:clr>
            <a:srgbClr val="A4A3A4"/>
          </p15:clr>
        </p15:guide>
        <p15:guide id="66" pos="1000" userDrawn="1">
          <p15:clr>
            <a:srgbClr val="A4A3A4"/>
          </p15:clr>
        </p15:guide>
        <p15:guide id="67" pos="1392" userDrawn="1">
          <p15:clr>
            <a:srgbClr val="A4A3A4"/>
          </p15:clr>
        </p15:guide>
        <p15:guide id="68" pos="1588" userDrawn="1">
          <p15:clr>
            <a:srgbClr val="A4A3A4"/>
          </p15:clr>
        </p15:guide>
        <p15:guide id="69" pos="1980" userDrawn="1">
          <p15:clr>
            <a:srgbClr val="A4A3A4"/>
          </p15:clr>
        </p15:guide>
        <p15:guide id="70" pos="2175" userDrawn="1">
          <p15:clr>
            <a:srgbClr val="A4A3A4"/>
          </p15:clr>
        </p15:guide>
        <p15:guide id="71" pos="2567" userDrawn="1">
          <p15:clr>
            <a:srgbClr val="A4A3A4"/>
          </p15:clr>
        </p15:guide>
        <p15:guide id="72" pos="2763" userDrawn="1">
          <p15:clr>
            <a:srgbClr val="A4A3A4"/>
          </p15:clr>
        </p15:guide>
        <p15:guide id="73" pos="3155" userDrawn="1">
          <p15:clr>
            <a:srgbClr val="A4A3A4"/>
          </p15:clr>
        </p15:guide>
        <p15:guide id="74" pos="3350" userDrawn="1">
          <p15:clr>
            <a:srgbClr val="A4A3A4"/>
          </p15:clr>
        </p15:guide>
        <p15:guide id="75" pos="3742" userDrawn="1">
          <p15:clr>
            <a:srgbClr val="547EBF"/>
          </p15:clr>
        </p15:guide>
        <p15:guide id="76" pos="3938" userDrawn="1">
          <p15:clr>
            <a:srgbClr val="547EBF"/>
          </p15:clr>
        </p15:guide>
        <p15:guide id="77" pos="4330" userDrawn="1">
          <p15:clr>
            <a:srgbClr val="A4A3A4"/>
          </p15:clr>
        </p15:guide>
        <p15:guide id="78" pos="4525" userDrawn="1">
          <p15:clr>
            <a:srgbClr val="A4A3A4"/>
          </p15:clr>
        </p15:guide>
        <p15:guide id="79" pos="5113" userDrawn="1">
          <p15:clr>
            <a:srgbClr val="A4A3A4"/>
          </p15:clr>
        </p15:guide>
        <p15:guide id="80" pos="4917" userDrawn="1">
          <p15:clr>
            <a:srgbClr val="A4A3A4"/>
          </p15:clr>
        </p15:guide>
        <p15:guide id="81" pos="5505" userDrawn="1">
          <p15:clr>
            <a:srgbClr val="A4A3A4"/>
          </p15:clr>
        </p15:guide>
        <p15:guide id="82" pos="5700" userDrawn="1">
          <p15:clr>
            <a:srgbClr val="A4A3A4"/>
          </p15:clr>
        </p15:guide>
        <p15:guide id="83" pos="6092" userDrawn="1">
          <p15:clr>
            <a:srgbClr val="A4A3A4"/>
          </p15:clr>
        </p15:guide>
        <p15:guide id="84" pos="6288" userDrawn="1">
          <p15:clr>
            <a:srgbClr val="A4A3A4"/>
          </p15:clr>
        </p15:guide>
        <p15:guide id="85" pos="6680" userDrawn="1">
          <p15:clr>
            <a:srgbClr val="A4A3A4"/>
          </p15:clr>
        </p15:guide>
        <p15:guide id="86" pos="6876" userDrawn="1">
          <p15:clr>
            <a:srgbClr val="A4A3A4"/>
          </p15:clr>
        </p15:guide>
        <p15:guide id="87" pos="7267" userDrawn="1">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55951008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10295649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4112260807"/>
      </p:ext>
    </p:extLst>
  </p:cSld>
  <p:clrMapOvr>
    <a:masterClrMapping/>
  </p:clrMapOvr>
  <p:hf sldNum="0" hdr="0" ftr="0" dt="0"/>
  <p:extLst>
    <p:ext uri="{DCECCB84-F9BA-43D5-87BE-67443E8EF086}">
      <p15:sldGuideLst xmlns:p15="http://schemas.microsoft.com/office/powerpoint/2012/main">
        <p15:guide id="11" pos="413" userDrawn="1">
          <p15:clr>
            <a:srgbClr val="547EBF"/>
          </p15:clr>
        </p15:guide>
        <p15:guide id="12" pos="6092" userDrawn="1">
          <p15:clr>
            <a:srgbClr val="547EBF"/>
          </p15:clr>
        </p15:guide>
        <p15:guide id="13" orient="horz" pos="2160" userDrawn="1">
          <p15:clr>
            <a:srgbClr val="547EBF"/>
          </p15:clr>
        </p15:guide>
        <p15:guide id="14" orient="horz" pos="2258" userDrawn="1">
          <p15:clr>
            <a:srgbClr val="547EBF"/>
          </p15:clr>
        </p15:guide>
        <p15:guide id="15" orient="horz" pos="1866" userDrawn="1">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2956131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47236203"/>
      </p:ext>
    </p:extLst>
  </p:cSld>
  <p:clrMapOvr>
    <a:masterClrMapping/>
  </p:clrMapOvr>
  <p:hf sldNum="0" hdr="0" ftr="0" dt="0"/>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908869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85640892"/>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userDrawn="1">
          <p15:clr>
            <a:srgbClr val="547EB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2518241"/>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50465830"/>
      </p:ext>
    </p:extLst>
  </p:cSld>
  <p:clrMapOvr>
    <a:masterClrMapping/>
  </p:clrMapOvr>
  <p:hf sldNum="0" hdr="0" ftr="0" dt="0"/>
  <p:extLst>
    <p:ext uri="{DCECCB84-F9BA-43D5-87BE-67443E8EF086}">
      <p15:sldGuideLst xmlns:p15="http://schemas.microsoft.com/office/powerpoint/2012/main">
        <p15:guide id="15" orient="horz" pos="397" userDrawn="1">
          <p15:clr>
            <a:srgbClr val="547EBF"/>
          </p15:clr>
        </p15:guide>
        <p15:guide id="16" pos="3155" userDrawn="1">
          <p15:clr>
            <a:srgbClr val="547EBF"/>
          </p15:clr>
        </p15:guide>
        <p15:guide id="17" pos="3350" userDrawn="1">
          <p15:clr>
            <a:srgbClr val="547EBF"/>
          </p15:clr>
        </p15:guide>
        <p15:guide id="18" pos="413" userDrawn="1">
          <p15:clr>
            <a:srgbClr val="547EBF"/>
          </p15:clr>
        </p15:guide>
        <p15:guide id="19" orient="horz" pos="3923" userDrawn="1">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74718660"/>
      </p:ext>
    </p:extLst>
  </p:cSld>
  <p:clrMapOvr>
    <a:masterClrMapping/>
  </p:clrMapOvr>
  <p:hf sldNum="0" hdr="0" ftr="0" dt="0"/>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46642930"/>
      </p:ext>
    </p:extLst>
  </p:cSld>
  <p:clrMapOvr>
    <a:masterClrMapping/>
  </p:clrMapOvr>
  <p:hf sldNum="0" hdr="0" ftr="0" dt="0"/>
  <p:extLst>
    <p:ext uri="{DCECCB84-F9BA-43D5-87BE-67443E8EF086}">
      <p15:sldGuideLst xmlns:p15="http://schemas.microsoft.com/office/powerpoint/2012/main">
        <p15:guide id="15" orient="horz" pos="2943" userDrawn="1">
          <p15:clr>
            <a:srgbClr val="547EBF"/>
          </p15:clr>
        </p15:guide>
        <p15:guide id="16" orient="horz" pos="3923" userDrawn="1">
          <p15:clr>
            <a:srgbClr val="547EBF"/>
          </p15:clr>
        </p15:guide>
        <p15:guide id="17" orient="horz" pos="3139"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50090157"/>
      </p:ext>
    </p:extLst>
  </p:cSld>
  <p:clrMapOvr>
    <a:masterClrMapping/>
  </p:clrMapOvr>
  <p:hf sldNum="0" hdr="0" ftr="0" dt="0"/>
  <p:extLst>
    <p:ext uri="{DCECCB84-F9BA-43D5-87BE-67443E8EF086}">
      <p15:sldGuideLst xmlns:p15="http://schemas.microsoft.com/office/powerpoint/2012/main">
        <p15:guide id="15" orient="horz" pos="1279" userDrawn="1">
          <p15:clr>
            <a:srgbClr val="547EBF"/>
          </p15:clr>
        </p15:guide>
        <p15:guide id="16" orient="horz" pos="397" userDrawn="1">
          <p15:clr>
            <a:srgbClr val="547EBF"/>
          </p15:clr>
        </p15:guide>
        <p15:guide id="17" orient="horz" pos="1181"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18655807"/>
      </p:ext>
    </p:extLst>
  </p:cSld>
  <p:clrMapOvr>
    <a:masterClrMapping/>
  </p:clrMapOvr>
  <p:hf sldNum="0" hdr="0" ftr="0" dt="0"/>
  <p:extLst>
    <p:ext uri="{DCECCB84-F9BA-43D5-87BE-67443E8EF086}">
      <p15:sldGuideLst xmlns:p15="http://schemas.microsoft.com/office/powerpoint/2012/main">
        <p15:guide id="26" orient="horz" pos="3433" userDrawn="1">
          <p15:clr>
            <a:srgbClr val="547EBF"/>
          </p15:clr>
        </p15:guide>
        <p15:guide id="27" orient="horz" pos="1276" userDrawn="1">
          <p15:clr>
            <a:srgbClr val="547EBF"/>
          </p15:clr>
        </p15:guide>
        <p15:guide id="28" pos="3749" userDrawn="1">
          <p15:clr>
            <a:srgbClr val="547EBF"/>
          </p15:clr>
        </p15:guide>
        <p15:guide id="29" pos="3931" userDrawn="1">
          <p15:clr>
            <a:srgbClr val="547EBF"/>
          </p15:clr>
        </p15:guide>
        <p15:guide id="30" orient="horz" pos="3531" userDrawn="1">
          <p15:clr>
            <a:srgbClr val="547EBF"/>
          </p15:clr>
        </p15:guide>
        <p15:guide id="31" orient="horz" pos="3923" userDrawn="1">
          <p15:clr>
            <a:srgbClr val="547EBF"/>
          </p15:clr>
        </p15:guide>
        <p15:guide id="32" pos="413" userDrawn="1">
          <p15:clr>
            <a:srgbClr val="547EBF"/>
          </p15:clr>
        </p15:guide>
        <p15:guide id="33" pos="7267" userDrawn="1">
          <p15:clr>
            <a:srgbClr val="547EBF"/>
          </p15:clr>
        </p15:guide>
        <p15:guide id="34" orient="horz" pos="202" userDrawn="1">
          <p15:clr>
            <a:srgbClr val="547EBF"/>
          </p15:clr>
        </p15:guide>
        <p15:guide id="35" orient="horz" pos="495" userDrawn="1">
          <p15:clr>
            <a:srgbClr val="547EBF"/>
          </p15:clr>
        </p15:guide>
        <p15:guide id="36" orient="horz" pos="789" userDrawn="1">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96972037"/>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0791744"/>
      </p:ext>
    </p:extLst>
  </p:cSld>
  <p:clrMapOvr>
    <a:masterClrMapping/>
  </p:clrMapOvr>
  <p:hf sldNum="0" hdr="0" ftr="0" dt="0"/>
  <p:extLst>
    <p:ext uri="{DCECCB84-F9BA-43D5-87BE-67443E8EF086}">
      <p15:sldGuideLst xmlns:p15="http://schemas.microsoft.com/office/powerpoint/2012/main">
        <p15:guide id="34" orient="horz" pos="3531" userDrawn="1">
          <p15:clr>
            <a:srgbClr val="547EBF"/>
          </p15:clr>
        </p15:guide>
        <p15:guide id="35" orient="horz" pos="1279" userDrawn="1">
          <p15:clr>
            <a:srgbClr val="547EBF"/>
          </p15:clr>
        </p15:guide>
        <p15:guide id="36" orient="horz" pos="3433"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orient="horz" pos="3923" userDrawn="1">
          <p15:clr>
            <a:srgbClr val="547EBF"/>
          </p15:clr>
        </p15:guide>
        <p15:guide id="43" pos="2567" userDrawn="1">
          <p15:clr>
            <a:srgbClr val="547EBF"/>
          </p15:clr>
        </p15:guide>
        <p15:guide id="44" pos="2763" userDrawn="1">
          <p15:clr>
            <a:srgbClr val="547EBF"/>
          </p15:clr>
        </p15:guide>
        <p15:guide id="45" pos="4917" userDrawn="1">
          <p15:clr>
            <a:srgbClr val="547EBF"/>
          </p15:clr>
        </p15:guide>
        <p15:guide id="46" pos="5113" userDrawn="1">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63467729"/>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916191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70673369"/>
      </p:ext>
    </p:extLst>
  </p:cSld>
  <p:clrMapOvr>
    <a:masterClrMapping/>
  </p:clrMapOvr>
  <p:hf sldNum="0" hdr="0" ftr="0" dt="0"/>
  <p:extLst>
    <p:ext uri="{DCECCB84-F9BA-43D5-87BE-67443E8EF086}">
      <p15:sldGuideLst xmlns:p15="http://schemas.microsoft.com/office/powerpoint/2012/main">
        <p15:guide id="33" orient="horz" pos="2943" userDrawn="1">
          <p15:clr>
            <a:srgbClr val="547EBF"/>
          </p15:clr>
        </p15:guide>
        <p15:guide id="34" orient="horz" pos="1279" userDrawn="1">
          <p15:clr>
            <a:srgbClr val="547EBF"/>
          </p15:clr>
        </p15:guide>
        <p15:guide id="35" orient="horz" pos="2845" userDrawn="1">
          <p15:clr>
            <a:srgbClr val="547EBF"/>
          </p15:clr>
        </p15:guide>
        <p15:guide id="36" orient="horz" pos="3936"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pos="1980" userDrawn="1">
          <p15:clr>
            <a:srgbClr val="547EBF"/>
          </p15:clr>
        </p15:guide>
        <p15:guide id="43" pos="2175" userDrawn="1">
          <p15:clr>
            <a:srgbClr val="547EBF"/>
          </p15:clr>
        </p15:guide>
        <p15:guide id="44" pos="3742" userDrawn="1">
          <p15:clr>
            <a:srgbClr val="547EBF"/>
          </p15:clr>
        </p15:guide>
        <p15:guide id="45" pos="3938" userDrawn="1">
          <p15:clr>
            <a:srgbClr val="547EBF"/>
          </p15:clr>
        </p15:guide>
        <p15:guide id="46" pos="5700" userDrawn="1">
          <p15:clr>
            <a:srgbClr val="547EBF"/>
          </p15:clr>
        </p15:guide>
        <p15:guide id="47" pos="5505" userDrawn="1">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36083054"/>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55104910"/>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2996707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90093690"/>
      </p:ext>
    </p:extLst>
  </p:cSld>
  <p:clrMapOvr>
    <a:masterClrMapping/>
  </p:clrMapOvr>
  <p:hf sldNum="0" hdr="0" ftr="0" dt="0"/>
  <p:extLst>
    <p:ext uri="{DCECCB84-F9BA-43D5-87BE-67443E8EF086}">
      <p15:sldGuideLst xmlns:p15="http://schemas.microsoft.com/office/powerpoint/2012/main">
        <p15:guide id="44" orient="horz" pos="3936" userDrawn="1">
          <p15:clr>
            <a:srgbClr val="547EBF"/>
          </p15:clr>
        </p15:guide>
        <p15:guide id="45" pos="2376" userDrawn="1">
          <p15:clr>
            <a:srgbClr val="FFFFFF"/>
          </p15:clr>
        </p15:guide>
        <p15:guide id="46" orient="horz" pos="880" userDrawn="1">
          <p15:clr>
            <a:srgbClr val="547EBF"/>
          </p15:clr>
        </p15:guide>
        <p15:guide id="47" pos="4656" userDrawn="1">
          <p15:clr>
            <a:srgbClr val="547EBF"/>
          </p15:clr>
        </p15:guide>
        <p15:guide id="48" pos="7267" userDrawn="1">
          <p15:clr>
            <a:srgbClr val="547EBF"/>
          </p15:clr>
        </p15:guide>
        <p15:guide id="49" pos="2763" userDrawn="1">
          <p15:clr>
            <a:srgbClr val="547EBF"/>
          </p15:clr>
        </p15:guide>
        <p15:guide id="50" pos="413" userDrawn="1">
          <p15:clr>
            <a:srgbClr val="FFFFFF"/>
          </p15:clr>
        </p15:guide>
        <p15:guide id="51" pos="4800"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C7AD610A-D85F-BB15-9FBC-666426F536CA}"/>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08771222"/>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00FB013F-ED4C-E44F-3E52-D3EAE6536B7F}"/>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3282020"/>
      </p:ext>
    </p:extLst>
  </p:cSld>
  <p:clrMapOvr>
    <a:masterClrMapping/>
  </p:clrMapOvr>
  <p:hf sldNum="0" hdr="0" ftr="0" dt="0"/>
  <p:extLst>
    <p:ext uri="{DCECCB84-F9BA-43D5-87BE-67443E8EF086}">
      <p15:sldGuideLst xmlns:p15="http://schemas.microsoft.com/office/powerpoint/2012/main">
        <p15:guide id="44" orient="horz" pos="397" userDrawn="1">
          <p15:clr>
            <a:srgbClr val="547EBF"/>
          </p15:clr>
        </p15:guide>
        <p15:guide id="45" orient="horz" pos="3923" userDrawn="1">
          <p15:clr>
            <a:srgbClr val="547EBF"/>
          </p15:clr>
        </p15:guide>
        <p15:guide id="46" pos="2763" userDrawn="1">
          <p15:clr>
            <a:srgbClr val="547EBF"/>
          </p15:clr>
        </p15:guide>
        <p15:guide id="47" pos="413" userDrawn="1">
          <p15:clr>
            <a:srgbClr val="547EBF"/>
          </p15:clr>
        </p15:guide>
        <p15:guide id="48" pos="2371" userDrawn="1">
          <p15:clr>
            <a:srgbClr val="547EBF"/>
          </p15:clr>
        </p15:guide>
        <p15:guide id="49" pos="3155" userDrawn="1">
          <p15:clr>
            <a:srgbClr val="547EBF"/>
          </p15:clr>
        </p15:guide>
        <p15:guide id="50" pos="7267" userDrawn="1">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7239985"/>
      </p:ext>
    </p:extLst>
  </p:cSld>
  <p:clrMapOvr>
    <a:masterClrMapping/>
  </p:clrMapOvr>
  <p:hf sldNum="0" hdr="0" ftr="0" dt="0"/>
  <p:extLst>
    <p:ext uri="{DCECCB84-F9BA-43D5-87BE-67443E8EF086}">
      <p15:sldGuideLst xmlns:p15="http://schemas.microsoft.com/office/powerpoint/2012/main">
        <p15:guide id="15" pos="413" userDrawn="1">
          <p15:clr>
            <a:srgbClr val="547EBF"/>
          </p15:clr>
        </p15:guide>
        <p15:guide id="16" orient="horz" pos="495" userDrawn="1">
          <p15:clr>
            <a:srgbClr val="547EBF"/>
          </p15:clr>
        </p15:guide>
        <p15:guide id="17" pos="7267" userDrawn="1">
          <p15:clr>
            <a:srgbClr val="547EBF"/>
          </p15:clr>
        </p15:guide>
        <p15:guide id="18" orient="horz" pos="202" userDrawn="1">
          <p15:clr>
            <a:srgbClr val="547EBF"/>
          </p15:clr>
        </p15:guide>
        <p15:guide id="19" orient="horz" pos="789" userDrawn="1">
          <p15:clr>
            <a:srgbClr val="547EBF"/>
          </p15:clr>
        </p15:guide>
        <p15:guide id="20" orient="horz" pos="912" userDrawn="1">
          <p15:clr>
            <a:srgbClr val="547EBF"/>
          </p15:clr>
        </p15:guide>
        <p15:guide id="21" orient="horz" pos="3923" userDrawn="1">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050443"/>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8492748"/>
      </p:ext>
    </p:extLst>
  </p:cSld>
  <p:clrMapOvr>
    <a:masterClrMapping/>
  </p:clrMapOvr>
  <p:hf sldNum="0" hdr="0" ftr="0" dt="0"/>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938740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0880030"/>
      </p:ext>
    </p:extLst>
  </p:cSld>
  <p:clrMapOvr>
    <a:masterClrMapping/>
  </p:clrMapOvr>
  <p:hf sldNum="0" hdr="0" ftr="0" dt="0"/>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05D51425-333F-3CDF-BAA1-7037B55FE782}"/>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97359188"/>
      </p:ext>
    </p:extLst>
  </p:cSld>
  <p:clrMapOvr>
    <a:masterClrMapping/>
  </p:clrMapOvr>
  <p:hf sldNum="0" hdr="0" ftr="0" dt="0"/>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64960CD0-2930-FE5B-E98C-F807ADCD97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19534551"/>
      </p:ext>
    </p:extLst>
  </p:cSld>
  <p:clrMapOvr>
    <a:masterClrMapping/>
  </p:clrMapOvr>
  <p:hf sldNum="0" hdr="0" ftr="0" dt="0"/>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3204379"/>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userDrawn="1">
          <p15:clr>
            <a:srgbClr val="FFFFFF"/>
          </p15:clr>
        </p15:guide>
        <p15:guide id="16" orient="horz" pos="495" userDrawn="1">
          <p15:clr>
            <a:srgbClr val="FFFFFF"/>
          </p15:clr>
        </p15:guide>
        <p15:guide id="17" orient="horz" pos="887" userDrawn="1">
          <p15:clr>
            <a:srgbClr val="FFFFFF"/>
          </p15:clr>
        </p15:guide>
        <p15:guide id="18" orient="horz" pos="3923" userDrawn="1">
          <p15:clr>
            <a:srgbClr val="FFFFFF"/>
          </p15:clr>
        </p15:guide>
        <p15:guide id="19" pos="413" userDrawn="1">
          <p15:clr>
            <a:srgbClr val="FFFFFF"/>
          </p15:clr>
        </p15:guide>
        <p15:guide id="20" pos="7267" userDrawn="1">
          <p15:clr>
            <a:srgbClr val="FFFFF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4562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70388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100081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25260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5260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872673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225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858486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5179175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35997636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22340180"/>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602361930"/>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51119057"/>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133304108"/>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931883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148691266"/>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698003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8099718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5796436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7202225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339176"/>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499145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463226725"/>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252867554"/>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3895463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slideLayout" Target="../slideLayouts/slideLayout71.xml"/><Relationship Id="rId47" Type="http://schemas.openxmlformats.org/officeDocument/2006/relationships/slideLayout" Target="../slideLayouts/slideLayout76.xml"/><Relationship Id="rId50" Type="http://schemas.openxmlformats.org/officeDocument/2006/relationships/slideLayout" Target="../slideLayouts/slideLayout79.xml"/><Relationship Id="rId55" Type="http://schemas.openxmlformats.org/officeDocument/2006/relationships/theme" Target="../theme/theme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9" Type="http://schemas.openxmlformats.org/officeDocument/2006/relationships/slideLayout" Target="../slideLayouts/slideLayout58.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3" Type="http://schemas.openxmlformats.org/officeDocument/2006/relationships/slideLayout" Target="../slideLayouts/slideLayout82.xml"/><Relationship Id="rId58" Type="http://schemas.openxmlformats.org/officeDocument/2006/relationships/tags" Target="../tags/tag4.xml"/><Relationship Id="rId5" Type="http://schemas.openxmlformats.org/officeDocument/2006/relationships/slideLayout" Target="../slideLayouts/slideLayout34.xml"/><Relationship Id="rId61" Type="http://schemas.openxmlformats.org/officeDocument/2006/relationships/image" Target="../media/image8.emf"/><Relationship Id="rId19" Type="http://schemas.openxmlformats.org/officeDocument/2006/relationships/slideLayout" Target="../slideLayouts/slideLayout4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48" Type="http://schemas.openxmlformats.org/officeDocument/2006/relationships/slideLayout" Target="../slideLayouts/slideLayout77.xml"/><Relationship Id="rId56" Type="http://schemas.openxmlformats.org/officeDocument/2006/relationships/tags" Target="../tags/tag2.xml"/><Relationship Id="rId8" Type="http://schemas.openxmlformats.org/officeDocument/2006/relationships/slideLayout" Target="../slideLayouts/slideLayout37.xml"/><Relationship Id="rId51" Type="http://schemas.openxmlformats.org/officeDocument/2006/relationships/slideLayout" Target="../slideLayouts/slideLayout80.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59" Type="http://schemas.openxmlformats.org/officeDocument/2006/relationships/tags" Target="../tags/tag5.xml"/><Relationship Id="rId20" Type="http://schemas.openxmlformats.org/officeDocument/2006/relationships/slideLayout" Target="../slideLayouts/slideLayout49.xml"/><Relationship Id="rId41" Type="http://schemas.openxmlformats.org/officeDocument/2006/relationships/slideLayout" Target="../slideLayouts/slideLayout70.xml"/><Relationship Id="rId54" Type="http://schemas.openxmlformats.org/officeDocument/2006/relationships/slideLayout" Target="../slideLayouts/slideLayout8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49" Type="http://schemas.openxmlformats.org/officeDocument/2006/relationships/slideLayout" Target="../slideLayouts/slideLayout78.xml"/><Relationship Id="rId57" Type="http://schemas.openxmlformats.org/officeDocument/2006/relationships/tags" Target="../tags/tag3.xml"/><Relationship Id="rId10" Type="http://schemas.openxmlformats.org/officeDocument/2006/relationships/slideLayout" Target="../slideLayouts/slideLayout39.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52" Type="http://schemas.openxmlformats.org/officeDocument/2006/relationships/slideLayout" Target="../slideLayouts/slideLayout81.xml"/><Relationship Id="rId60" Type="http://schemas.openxmlformats.org/officeDocument/2006/relationships/tags" Target="../tags/tag6.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9" Type="http://schemas.openxmlformats.org/officeDocument/2006/relationships/slideLayout" Target="../slideLayouts/slideLayout122.xml"/><Relationship Id="rId21" Type="http://schemas.openxmlformats.org/officeDocument/2006/relationships/slideLayout" Target="../slideLayouts/slideLayout104.xml"/><Relationship Id="rId34" Type="http://schemas.openxmlformats.org/officeDocument/2006/relationships/slideLayout" Target="../slideLayouts/slideLayout117.xml"/><Relationship Id="rId42" Type="http://schemas.openxmlformats.org/officeDocument/2006/relationships/slideLayout" Target="../slideLayouts/slideLayout125.xml"/><Relationship Id="rId47" Type="http://schemas.openxmlformats.org/officeDocument/2006/relationships/tags" Target="../tags/tag8.xml"/><Relationship Id="rId7" Type="http://schemas.openxmlformats.org/officeDocument/2006/relationships/slideLayout" Target="../slideLayouts/slideLayout9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9" Type="http://schemas.openxmlformats.org/officeDocument/2006/relationships/slideLayout" Target="../slideLayouts/slideLayout112.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32" Type="http://schemas.openxmlformats.org/officeDocument/2006/relationships/slideLayout" Target="../slideLayouts/slideLayout115.xml"/><Relationship Id="rId37" Type="http://schemas.openxmlformats.org/officeDocument/2006/relationships/slideLayout" Target="../slideLayouts/slideLayout120.xml"/><Relationship Id="rId40" Type="http://schemas.openxmlformats.org/officeDocument/2006/relationships/slideLayout" Target="../slideLayouts/slideLayout123.xml"/><Relationship Id="rId45" Type="http://schemas.openxmlformats.org/officeDocument/2006/relationships/theme" Target="../theme/theme3.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36" Type="http://schemas.openxmlformats.org/officeDocument/2006/relationships/slideLayout" Target="../slideLayouts/slideLayout119.xml"/><Relationship Id="rId49" Type="http://schemas.openxmlformats.org/officeDocument/2006/relationships/image" Target="../media/image8.emf"/><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slideLayout" Target="../slideLayouts/slideLayout114.xml"/><Relationship Id="rId44" Type="http://schemas.openxmlformats.org/officeDocument/2006/relationships/slideLayout" Target="../slideLayouts/slideLayout127.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slideLayout" Target="../slideLayouts/slideLayout113.xml"/><Relationship Id="rId35" Type="http://schemas.openxmlformats.org/officeDocument/2006/relationships/slideLayout" Target="../slideLayouts/slideLayout118.xml"/><Relationship Id="rId43" Type="http://schemas.openxmlformats.org/officeDocument/2006/relationships/slideLayout" Target="../slideLayouts/slideLayout126.xml"/><Relationship Id="rId48" Type="http://schemas.openxmlformats.org/officeDocument/2006/relationships/tags" Target="../tags/tag9.xml"/><Relationship Id="rId8" Type="http://schemas.openxmlformats.org/officeDocument/2006/relationships/slideLayout" Target="../slideLayouts/slideLayout91.xml"/><Relationship Id="rId3" Type="http://schemas.openxmlformats.org/officeDocument/2006/relationships/slideLayout" Target="../slideLayouts/slideLayout86.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33" Type="http://schemas.openxmlformats.org/officeDocument/2006/relationships/slideLayout" Target="../slideLayouts/slideLayout116.xml"/><Relationship Id="rId38" Type="http://schemas.openxmlformats.org/officeDocument/2006/relationships/slideLayout" Target="../slideLayouts/slideLayout121.xml"/><Relationship Id="rId46" Type="http://schemas.openxmlformats.org/officeDocument/2006/relationships/tags" Target="../tags/tag7.xml"/><Relationship Id="rId20" Type="http://schemas.openxmlformats.org/officeDocument/2006/relationships/slideLayout" Target="../slideLayouts/slideLayout103.xml"/><Relationship Id="rId41" Type="http://schemas.openxmlformats.org/officeDocument/2006/relationships/slideLayout" Target="../slideLayouts/slideLayout124.xml"/><Relationship Id="rId1" Type="http://schemas.openxmlformats.org/officeDocument/2006/relationships/slideLayout" Target="../slideLayouts/slideLayout84.xml"/><Relationship Id="rId6" Type="http://schemas.openxmlformats.org/officeDocument/2006/relationships/slideLayout" Target="../slideLayouts/slideLayout8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9" Type="http://schemas.openxmlformats.org/officeDocument/2006/relationships/slideLayout" Target="../slideLayouts/slideLayout166.xml"/><Relationship Id="rId21" Type="http://schemas.openxmlformats.org/officeDocument/2006/relationships/slideLayout" Target="../slideLayouts/slideLayout148.xml"/><Relationship Id="rId34" Type="http://schemas.openxmlformats.org/officeDocument/2006/relationships/slideLayout" Target="../slideLayouts/slideLayout161.xml"/><Relationship Id="rId42" Type="http://schemas.openxmlformats.org/officeDocument/2006/relationships/slideLayout" Target="../slideLayouts/slideLayout169.xml"/><Relationship Id="rId47" Type="http://schemas.openxmlformats.org/officeDocument/2006/relationships/slideLayout" Target="../slideLayouts/slideLayout174.xml"/><Relationship Id="rId50" Type="http://schemas.openxmlformats.org/officeDocument/2006/relationships/tags" Target="../tags/tag11.xml"/><Relationship Id="rId7" Type="http://schemas.openxmlformats.org/officeDocument/2006/relationships/slideLayout" Target="../slideLayouts/slideLayout134.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9" Type="http://schemas.openxmlformats.org/officeDocument/2006/relationships/slideLayout" Target="../slideLayouts/slideLayout156.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32" Type="http://schemas.openxmlformats.org/officeDocument/2006/relationships/slideLayout" Target="../slideLayouts/slideLayout159.xml"/><Relationship Id="rId37" Type="http://schemas.openxmlformats.org/officeDocument/2006/relationships/slideLayout" Target="../slideLayouts/slideLayout164.xml"/><Relationship Id="rId40" Type="http://schemas.openxmlformats.org/officeDocument/2006/relationships/slideLayout" Target="../slideLayouts/slideLayout167.xml"/><Relationship Id="rId45" Type="http://schemas.openxmlformats.org/officeDocument/2006/relationships/slideLayout" Target="../slideLayouts/slideLayout172.xml"/><Relationship Id="rId53" Type="http://schemas.openxmlformats.org/officeDocument/2006/relationships/image" Target="../media/image1.png"/><Relationship Id="rId5" Type="http://schemas.openxmlformats.org/officeDocument/2006/relationships/slideLayout" Target="../slideLayouts/slideLayout132.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31" Type="http://schemas.openxmlformats.org/officeDocument/2006/relationships/slideLayout" Target="../slideLayouts/slideLayout158.xml"/><Relationship Id="rId44" Type="http://schemas.openxmlformats.org/officeDocument/2006/relationships/slideLayout" Target="../slideLayouts/slideLayout171.xml"/><Relationship Id="rId52" Type="http://schemas.openxmlformats.org/officeDocument/2006/relationships/image" Target="../media/image8.emf"/><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slideLayout" Target="../slideLayouts/slideLayout154.xml"/><Relationship Id="rId30" Type="http://schemas.openxmlformats.org/officeDocument/2006/relationships/slideLayout" Target="../slideLayouts/slideLayout157.xml"/><Relationship Id="rId35" Type="http://schemas.openxmlformats.org/officeDocument/2006/relationships/slideLayout" Target="../slideLayouts/slideLayout162.xml"/><Relationship Id="rId43" Type="http://schemas.openxmlformats.org/officeDocument/2006/relationships/slideLayout" Target="../slideLayouts/slideLayout170.xml"/><Relationship Id="rId48" Type="http://schemas.openxmlformats.org/officeDocument/2006/relationships/theme" Target="../theme/theme4.xml"/><Relationship Id="rId8" Type="http://schemas.openxmlformats.org/officeDocument/2006/relationships/slideLayout" Target="../slideLayouts/slideLayout135.xml"/><Relationship Id="rId51" Type="http://schemas.openxmlformats.org/officeDocument/2006/relationships/tags" Target="../tags/tag12.xml"/><Relationship Id="rId3" Type="http://schemas.openxmlformats.org/officeDocument/2006/relationships/slideLayout" Target="../slideLayouts/slideLayout130.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33" Type="http://schemas.openxmlformats.org/officeDocument/2006/relationships/slideLayout" Target="../slideLayouts/slideLayout160.xml"/><Relationship Id="rId38" Type="http://schemas.openxmlformats.org/officeDocument/2006/relationships/slideLayout" Target="../slideLayouts/slideLayout165.xml"/><Relationship Id="rId46" Type="http://schemas.openxmlformats.org/officeDocument/2006/relationships/slideLayout" Target="../slideLayouts/slideLayout173.xml"/><Relationship Id="rId20" Type="http://schemas.openxmlformats.org/officeDocument/2006/relationships/slideLayout" Target="../slideLayouts/slideLayout147.xml"/><Relationship Id="rId41" Type="http://schemas.openxmlformats.org/officeDocument/2006/relationships/slideLayout" Target="../slideLayouts/slideLayout168.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slideLayout" Target="../slideLayouts/slideLayout155.xml"/><Relationship Id="rId36" Type="http://schemas.openxmlformats.org/officeDocument/2006/relationships/slideLayout" Target="../slideLayouts/slideLayout163.xml"/><Relationship Id="rId49"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043081594"/>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 id="2147483786"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61"/>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DA32C1A6-1024-B99F-74FD-7E094B27B63C}"/>
              </a:ext>
              <a:ext uri="{C183D7F6-B498-43B3-948B-1728B52AA6E4}">
                <adec:decorative xmlns:adec="http://schemas.microsoft.com/office/drawing/2017/decorative" val="1"/>
              </a:ext>
            </a:extLst>
          </p:cNvPr>
          <p:cNvSpPr/>
          <p:nvPr userDrawn="1">
            <p:custDataLst>
              <p:tags r:id="rId5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88CD1706-3F7C-EF25-9E08-8FE8BAA39611}"/>
              </a:ext>
            </a:extLst>
          </p:cNvPr>
          <p:cNvSpPr/>
          <p:nvPr userDrawn="1">
            <p:custDataLst>
              <p:tags r:id="rId6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24911316"/>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 id="2147483813" r:id="rId26"/>
    <p:sldLayoutId id="2147483814" r:id="rId27"/>
    <p:sldLayoutId id="2147483815" r:id="rId28"/>
    <p:sldLayoutId id="2147483816" r:id="rId29"/>
    <p:sldLayoutId id="2147483817" r:id="rId30"/>
    <p:sldLayoutId id="2147483818" r:id="rId31"/>
    <p:sldLayoutId id="2147483819" r:id="rId32"/>
    <p:sldLayoutId id="2147483820" r:id="rId33"/>
    <p:sldLayoutId id="2147483821" r:id="rId34"/>
    <p:sldLayoutId id="2147483822" r:id="rId35"/>
    <p:sldLayoutId id="2147483823" r:id="rId36"/>
    <p:sldLayoutId id="2147483824" r:id="rId37"/>
    <p:sldLayoutId id="2147483825" r:id="rId38"/>
    <p:sldLayoutId id="2147483826" r:id="rId39"/>
    <p:sldLayoutId id="2147483827" r:id="rId40"/>
    <p:sldLayoutId id="2147483828" r:id="rId41"/>
    <p:sldLayoutId id="2147483829" r:id="rId42"/>
    <p:sldLayoutId id="2147483830" r:id="rId43"/>
    <p:sldLayoutId id="2147483831" r:id="rId44"/>
    <p:sldLayoutId id="2147483832" r:id="rId45"/>
    <p:sldLayoutId id="2147483833" r:id="rId46"/>
    <p:sldLayoutId id="2147483834" r:id="rId47"/>
    <p:sldLayoutId id="2147483835" r:id="rId48"/>
    <p:sldLayoutId id="2147483744" r:id="rId49"/>
    <p:sldLayoutId id="2147483707" r:id="rId50"/>
    <p:sldLayoutId id="2147483708" r:id="rId51"/>
    <p:sldLayoutId id="2147483737" r:id="rId52"/>
    <p:sldLayoutId id="2147483727" r:id="rId53"/>
    <p:sldLayoutId id="2147483755" r:id="rId5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5361686"/>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 id="2147483852" r:id="rId16"/>
    <p:sldLayoutId id="2147483853" r:id="rId17"/>
    <p:sldLayoutId id="2147483854" r:id="rId18"/>
    <p:sldLayoutId id="2147483855" r:id="rId19"/>
    <p:sldLayoutId id="2147483856" r:id="rId20"/>
    <p:sldLayoutId id="2147483857" r:id="rId21"/>
    <p:sldLayoutId id="2147483858" r:id="rId22"/>
    <p:sldLayoutId id="2147483859" r:id="rId23"/>
    <p:sldLayoutId id="2147483860" r:id="rId24"/>
    <p:sldLayoutId id="2147483861" r:id="rId25"/>
    <p:sldLayoutId id="2147483862" r:id="rId26"/>
    <p:sldLayoutId id="2147483863" r:id="rId27"/>
    <p:sldLayoutId id="2147483864" r:id="rId28"/>
    <p:sldLayoutId id="2147483865" r:id="rId29"/>
    <p:sldLayoutId id="2147483866" r:id="rId30"/>
    <p:sldLayoutId id="2147483867" r:id="rId31"/>
    <p:sldLayoutId id="2147483868" r:id="rId32"/>
    <p:sldLayoutId id="2147483869" r:id="rId33"/>
    <p:sldLayoutId id="2147483870" r:id="rId34"/>
    <p:sldLayoutId id="2147483871" r:id="rId35"/>
    <p:sldLayoutId id="2147483872" r:id="rId36"/>
    <p:sldLayoutId id="2147483873" r:id="rId37"/>
    <p:sldLayoutId id="2147483874" r:id="rId38"/>
    <p:sldLayoutId id="2147483875" r:id="rId39"/>
    <p:sldLayoutId id="2147483876" r:id="rId40"/>
    <p:sldLayoutId id="2147483877" r:id="rId41"/>
    <p:sldLayoutId id="2147483878" r:id="rId42"/>
    <p:sldLayoutId id="2147483879" r:id="rId43"/>
    <p:sldLayoutId id="2147483880"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2"/>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14117E6E-6E66-153C-C901-AB41EC01CC83}"/>
              </a:ext>
            </a:extLst>
          </p:cNvPr>
          <p:cNvPicPr>
            <a:picLocks noChangeAspect="1"/>
          </p:cNvPicPr>
          <p:nvPr userDrawn="1"/>
        </p:nvPicPr>
        <p:blipFill>
          <a:blip r:embed="rId5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6887542"/>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 id="2147483894" r:id="rId13"/>
    <p:sldLayoutId id="2147483895" r:id="rId14"/>
    <p:sldLayoutId id="2147483896" r:id="rId15"/>
    <p:sldLayoutId id="2147483897" r:id="rId16"/>
    <p:sldLayoutId id="2147483898" r:id="rId17"/>
    <p:sldLayoutId id="2147483899" r:id="rId18"/>
    <p:sldLayoutId id="2147483900" r:id="rId19"/>
    <p:sldLayoutId id="2147483901" r:id="rId20"/>
    <p:sldLayoutId id="2147483902" r:id="rId21"/>
    <p:sldLayoutId id="2147483903" r:id="rId22"/>
    <p:sldLayoutId id="2147483904" r:id="rId23"/>
    <p:sldLayoutId id="2147483905" r:id="rId24"/>
    <p:sldLayoutId id="2147483906" r:id="rId25"/>
    <p:sldLayoutId id="2147483907" r:id="rId26"/>
    <p:sldLayoutId id="2147483908" r:id="rId27"/>
    <p:sldLayoutId id="2147483909" r:id="rId28"/>
    <p:sldLayoutId id="2147483910" r:id="rId29"/>
    <p:sldLayoutId id="2147483911" r:id="rId30"/>
    <p:sldLayoutId id="2147483912" r:id="rId31"/>
    <p:sldLayoutId id="2147483913" r:id="rId32"/>
    <p:sldLayoutId id="2147483914" r:id="rId33"/>
    <p:sldLayoutId id="2147483915" r:id="rId34"/>
    <p:sldLayoutId id="2147483916" r:id="rId35"/>
    <p:sldLayoutId id="2147483917" r:id="rId36"/>
    <p:sldLayoutId id="2147483918" r:id="rId37"/>
    <p:sldLayoutId id="2147483919" r:id="rId38"/>
    <p:sldLayoutId id="2147483920" r:id="rId39"/>
    <p:sldLayoutId id="2147483921" r:id="rId40"/>
    <p:sldLayoutId id="2147483922" r:id="rId41"/>
    <p:sldLayoutId id="2147483923" r:id="rId42"/>
    <p:sldLayoutId id="2147483924" r:id="rId43"/>
    <p:sldLayoutId id="2147483925" r:id="rId44"/>
    <p:sldLayoutId id="2147483926" r:id="rId45"/>
    <p:sldLayoutId id="2147483927" r:id="rId46"/>
    <p:sldLayoutId id="2147483928" r:id="rId47"/>
  </p:sldLayoutIdLst>
  <p:transition>
    <p:fade/>
  </p:transition>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7.xml"/><Relationship Id="rId1" Type="http://schemas.openxmlformats.org/officeDocument/2006/relationships/tags" Target="../tags/tag17.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2.xml.rels><?xml version="1.0" encoding="UTF-8" standalone="yes"?>
<Relationships xmlns="http://schemas.openxmlformats.org/package/2006/relationships"><Relationship Id="rId3" Type="http://schemas.openxmlformats.org/officeDocument/2006/relationships/customXml" Target="../../customXml/item7.xml"/><Relationship Id="rId7" Type="http://schemas.openxmlformats.org/officeDocument/2006/relationships/image" Target="../media/image11.png"/><Relationship Id="rId2" Type="http://schemas.openxmlformats.org/officeDocument/2006/relationships/customXml" Target="../../customXml/item6.xml"/><Relationship Id="rId1" Type="http://schemas.openxmlformats.org/officeDocument/2006/relationships/tags" Target="../tags/tag19.xml"/><Relationship Id="rId6" Type="http://schemas.openxmlformats.org/officeDocument/2006/relationships/notesSlide" Target="../notesSlides/notesSlide9.xml"/><Relationship Id="rId5" Type="http://schemas.openxmlformats.org/officeDocument/2006/relationships/slideLayout" Target="../slideLayouts/slideLayout38.xml"/><Relationship Id="rId4" Type="http://schemas.openxmlformats.org/officeDocument/2006/relationships/tags" Target="../tags/tag20.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6.xml"/><Relationship Id="rId1" Type="http://schemas.openxmlformats.org/officeDocument/2006/relationships/tags" Target="../tags/tag2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6.xml"/><Relationship Id="rId1" Type="http://schemas.openxmlformats.org/officeDocument/2006/relationships/tags" Target="../tags/tag23.xml"/></Relationships>
</file>

<file path=ppt/slides/_rels/slide15.xml.rels><?xml version="1.0" encoding="UTF-8" standalone="yes"?>
<Relationships xmlns="http://schemas.openxmlformats.org/package/2006/relationships"><Relationship Id="rId8" Type="http://schemas.microsoft.com/office/2007/relationships/diagramDrawing" Target="../diagrams/drawing3.xml"/><Relationship Id="rId13" Type="http://schemas.microsoft.com/office/2007/relationships/diagramDrawing" Target="../diagrams/drawing4.xml"/><Relationship Id="rId18" Type="http://schemas.microsoft.com/office/2007/relationships/diagramDrawing" Target="../diagrams/drawing5.xml"/><Relationship Id="rId3" Type="http://schemas.openxmlformats.org/officeDocument/2006/relationships/notesSlide" Target="../notesSlides/notesSlide12.xml"/><Relationship Id="rId7" Type="http://schemas.openxmlformats.org/officeDocument/2006/relationships/diagramColors" Target="../diagrams/colors3.xml"/><Relationship Id="rId12" Type="http://schemas.openxmlformats.org/officeDocument/2006/relationships/diagramColors" Target="../diagrams/colors4.xml"/><Relationship Id="rId17" Type="http://schemas.openxmlformats.org/officeDocument/2006/relationships/diagramColors" Target="../diagrams/colors5.xml"/><Relationship Id="rId2" Type="http://schemas.openxmlformats.org/officeDocument/2006/relationships/slideLayout" Target="../slideLayouts/slideLayout37.xml"/><Relationship Id="rId16" Type="http://schemas.openxmlformats.org/officeDocument/2006/relationships/diagramQuickStyle" Target="../diagrams/quickStyle5.xml"/><Relationship Id="rId1" Type="http://schemas.openxmlformats.org/officeDocument/2006/relationships/tags" Target="../tags/tag25.xml"/><Relationship Id="rId6" Type="http://schemas.openxmlformats.org/officeDocument/2006/relationships/diagramQuickStyle" Target="../diagrams/quickStyle3.xml"/><Relationship Id="rId11" Type="http://schemas.openxmlformats.org/officeDocument/2006/relationships/diagramQuickStyle" Target="../diagrams/quickStyle4.xml"/><Relationship Id="rId5" Type="http://schemas.openxmlformats.org/officeDocument/2006/relationships/diagramLayout" Target="../diagrams/layout3.xml"/><Relationship Id="rId15" Type="http://schemas.openxmlformats.org/officeDocument/2006/relationships/diagramLayout" Target="../diagrams/layout5.xml"/><Relationship Id="rId10" Type="http://schemas.openxmlformats.org/officeDocument/2006/relationships/diagramLayout" Target="../diagrams/layout4.xml"/><Relationship Id="rId4" Type="http://schemas.openxmlformats.org/officeDocument/2006/relationships/diagramData" Target="../diagrams/data3.xml"/><Relationship Id="rId9" Type="http://schemas.openxmlformats.org/officeDocument/2006/relationships/diagramData" Target="../diagrams/data4.xml"/><Relationship Id="rId14" Type="http://schemas.openxmlformats.org/officeDocument/2006/relationships/diagramData" Target="../diagrams/data5.xml"/></Relationships>
</file>

<file path=ppt/slides/_rels/slide16.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notesSlide" Target="../notesSlides/notesSlide13.xml"/><Relationship Id="rId7" Type="http://schemas.openxmlformats.org/officeDocument/2006/relationships/diagramColors" Target="../diagrams/colors6.xml"/><Relationship Id="rId2" Type="http://schemas.openxmlformats.org/officeDocument/2006/relationships/slideLayout" Target="../slideLayouts/slideLayout37.xml"/><Relationship Id="rId1" Type="http://schemas.openxmlformats.org/officeDocument/2006/relationships/tags" Target="../tags/tag27.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17.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notesSlide" Target="../notesSlides/notesSlide14.xml"/><Relationship Id="rId7" Type="http://schemas.openxmlformats.org/officeDocument/2006/relationships/diagramColors" Target="../diagrams/colors7.xml"/><Relationship Id="rId2" Type="http://schemas.openxmlformats.org/officeDocument/2006/relationships/slideLayout" Target="../slideLayouts/slideLayout37.xml"/><Relationship Id="rId1" Type="http://schemas.openxmlformats.org/officeDocument/2006/relationships/tags" Target="../tags/tag28.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customXml" Target="../../customXml/item8.xml"/><Relationship Id="rId1" Type="http://schemas.openxmlformats.org/officeDocument/2006/relationships/tags" Target="../tags/tag29.xml"/><Relationship Id="rId4"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9.xml"/><Relationship Id="rId1" Type="http://schemas.openxmlformats.org/officeDocument/2006/relationships/tags" Target="../tags/tag30.xml"/><Relationship Id="rId4" Type="http://schemas.openxmlformats.org/officeDocument/2006/relationships/image" Target="../media/image20.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21.jfif"/><Relationship Id="rId4" Type="http://schemas.openxmlformats.org/officeDocument/2006/relationships/notesSlide" Target="../notesSlides/notesSlide1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2.xml.rels><?xml version="1.0" encoding="UTF-8" standalone="yes"?>
<Relationships xmlns="http://schemas.openxmlformats.org/package/2006/relationships"><Relationship Id="rId3" Type="http://schemas.openxmlformats.org/officeDocument/2006/relationships/customXml" Target="../../customXml/item10.xml"/><Relationship Id="rId7" Type="http://schemas.openxmlformats.org/officeDocument/2006/relationships/image" Target="../media/image11.png"/><Relationship Id="rId2" Type="http://schemas.openxmlformats.org/officeDocument/2006/relationships/customXml" Target="../../customXml/item9.xml"/><Relationship Id="rId1" Type="http://schemas.openxmlformats.org/officeDocument/2006/relationships/tags" Target="../tags/tag33.xml"/><Relationship Id="rId6" Type="http://schemas.openxmlformats.org/officeDocument/2006/relationships/notesSlide" Target="../notesSlides/notesSlide18.xml"/><Relationship Id="rId5" Type="http://schemas.openxmlformats.org/officeDocument/2006/relationships/slideLayout" Target="../slideLayouts/slideLayout38.xml"/><Relationship Id="rId4" Type="http://schemas.openxmlformats.org/officeDocument/2006/relationships/tags" Target="../tags/tag3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41.xml"/><Relationship Id="rId1" Type="http://schemas.openxmlformats.org/officeDocument/2006/relationships/tags" Target="../tags/tag35.xml"/></Relationships>
</file>

<file path=ppt/slides/_rels/slide24.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20.xml"/><Relationship Id="rId7" Type="http://schemas.openxmlformats.org/officeDocument/2006/relationships/diagramColors" Target="../diagrams/colors8.xml"/><Relationship Id="rId2" Type="http://schemas.openxmlformats.org/officeDocument/2006/relationships/slideLayout" Target="../slideLayouts/slideLayout174.xml"/><Relationship Id="rId1" Type="http://schemas.openxmlformats.org/officeDocument/2006/relationships/tags" Target="../tags/tag37.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25.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notesSlide" Target="../notesSlides/notesSlide21.xml"/><Relationship Id="rId7" Type="http://schemas.openxmlformats.org/officeDocument/2006/relationships/diagramColors" Target="../diagrams/colors9.xml"/><Relationship Id="rId2" Type="http://schemas.openxmlformats.org/officeDocument/2006/relationships/slideLayout" Target="../slideLayouts/slideLayout39.xml"/><Relationship Id="rId1" Type="http://schemas.openxmlformats.org/officeDocument/2006/relationships/tags" Target="../tags/tag39.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7.xml"/><Relationship Id="rId1" Type="http://schemas.openxmlformats.org/officeDocument/2006/relationships/tags" Target="../tags/tag41.xml"/><Relationship Id="rId4" Type="http://schemas.openxmlformats.org/officeDocument/2006/relationships/image" Target="../media/image22.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9.xml"/><Relationship Id="rId1" Type="http://schemas.openxmlformats.org/officeDocument/2006/relationships/tags" Target="../tags/tag43.xml"/><Relationship Id="rId4" Type="http://schemas.openxmlformats.org/officeDocument/2006/relationships/image" Target="../media/image20.bin"/></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9.xml.rels><?xml version="1.0" encoding="UTF-8" standalone="yes"?>
<Relationships xmlns="http://schemas.openxmlformats.org/package/2006/relationships"><Relationship Id="rId3" Type="http://schemas.openxmlformats.org/officeDocument/2006/relationships/customXml" Target="../../customXml/item12.xml"/><Relationship Id="rId7" Type="http://schemas.openxmlformats.org/officeDocument/2006/relationships/image" Target="../media/image11.png"/><Relationship Id="rId2" Type="http://schemas.openxmlformats.org/officeDocument/2006/relationships/customXml" Target="../../customXml/item11.xml"/><Relationship Id="rId1" Type="http://schemas.openxmlformats.org/officeDocument/2006/relationships/tags" Target="../tags/tag44.xml"/><Relationship Id="rId6" Type="http://schemas.openxmlformats.org/officeDocument/2006/relationships/notesSlide" Target="../notesSlides/notesSlide24.xml"/><Relationship Id="rId5" Type="http://schemas.openxmlformats.org/officeDocument/2006/relationships/slideLayout" Target="../slideLayouts/slideLayout38.xml"/><Relationship Id="rId4" Type="http://schemas.openxmlformats.org/officeDocument/2006/relationships/tags" Target="../tags/tag4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5.xml"/></Relationships>
</file>

<file path=ppt/slides/_rels/slide30.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notesSlide" Target="../notesSlides/notesSlide25.xml"/><Relationship Id="rId7" Type="http://schemas.openxmlformats.org/officeDocument/2006/relationships/diagramColors" Target="../diagrams/colors10.xml"/><Relationship Id="rId2" Type="http://schemas.openxmlformats.org/officeDocument/2006/relationships/slideLayout" Target="../slideLayouts/slideLayout37.xml"/><Relationship Id="rId1" Type="http://schemas.openxmlformats.org/officeDocument/2006/relationships/tags" Target="../tags/tag46.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s>
</file>

<file path=ppt/slides/_rels/slide31.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notesSlide" Target="../notesSlides/notesSlide26.xml"/><Relationship Id="rId7" Type="http://schemas.openxmlformats.org/officeDocument/2006/relationships/diagramColors" Target="../diagrams/colors11.xml"/><Relationship Id="rId2" Type="http://schemas.openxmlformats.org/officeDocument/2006/relationships/slideLayout" Target="../slideLayouts/slideLayout37.xml"/><Relationship Id="rId1" Type="http://schemas.openxmlformats.org/officeDocument/2006/relationships/tags" Target="../tags/tag48.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7.xml"/><Relationship Id="rId1" Type="http://schemas.openxmlformats.org/officeDocument/2006/relationships/slideLayout" Target="../slideLayouts/slideLayout40.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3.xml.rels><?xml version="1.0" encoding="UTF-8" standalone="yes"?>
<Relationships xmlns="http://schemas.openxmlformats.org/package/2006/relationships"><Relationship Id="rId8" Type="http://schemas.microsoft.com/office/2007/relationships/diagramDrawing" Target="../diagrams/drawing13.xml"/><Relationship Id="rId3" Type="http://schemas.openxmlformats.org/officeDocument/2006/relationships/notesSlide" Target="../notesSlides/notesSlide28.xml"/><Relationship Id="rId7" Type="http://schemas.openxmlformats.org/officeDocument/2006/relationships/diagramColors" Target="../diagrams/colors13.xml"/><Relationship Id="rId2" Type="http://schemas.openxmlformats.org/officeDocument/2006/relationships/slideLayout" Target="../slideLayouts/slideLayout37.xml"/><Relationship Id="rId1" Type="http://schemas.openxmlformats.org/officeDocument/2006/relationships/tags" Target="../tags/tag50.xml"/><Relationship Id="rId6" Type="http://schemas.openxmlformats.org/officeDocument/2006/relationships/diagramQuickStyle" Target="../diagrams/quickStyle13.xml"/><Relationship Id="rId5" Type="http://schemas.openxmlformats.org/officeDocument/2006/relationships/diagramLayout" Target="../diagrams/layout13.xml"/><Relationship Id="rId4" Type="http://schemas.openxmlformats.org/officeDocument/2006/relationships/diagramData" Target="../diagrams/data13.xml"/></Relationships>
</file>

<file path=ppt/slides/_rels/slide34.xml.rels><?xml version="1.0" encoding="UTF-8" standalone="yes"?>
<Relationships xmlns="http://schemas.openxmlformats.org/package/2006/relationships"><Relationship Id="rId8" Type="http://schemas.microsoft.com/office/2007/relationships/diagramDrawing" Target="../diagrams/drawing14.xml"/><Relationship Id="rId3" Type="http://schemas.openxmlformats.org/officeDocument/2006/relationships/notesSlide" Target="../notesSlides/notesSlide29.xml"/><Relationship Id="rId7" Type="http://schemas.openxmlformats.org/officeDocument/2006/relationships/diagramColors" Target="../diagrams/colors14.xml"/><Relationship Id="rId2" Type="http://schemas.openxmlformats.org/officeDocument/2006/relationships/slideLayout" Target="../slideLayouts/slideLayout37.xml"/><Relationship Id="rId1" Type="http://schemas.openxmlformats.org/officeDocument/2006/relationships/tags" Target="../tags/tag52.xml"/><Relationship Id="rId6" Type="http://schemas.openxmlformats.org/officeDocument/2006/relationships/diagramQuickStyle" Target="../diagrams/quickStyle14.xml"/><Relationship Id="rId5" Type="http://schemas.openxmlformats.org/officeDocument/2006/relationships/diagramLayout" Target="../diagrams/layout14.xml"/><Relationship Id="rId4" Type="http://schemas.openxmlformats.org/officeDocument/2006/relationships/diagramData" Target="../diagrams/data1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21.jfif"/><Relationship Id="rId4" Type="http://schemas.openxmlformats.org/officeDocument/2006/relationships/notesSlide" Target="../notesSlides/notesSlide3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5.xml"/></Relationships>
</file>

<file path=ppt/slides/_rels/slide37.xml.rels><?xml version="1.0" encoding="UTF-8" standalone="yes"?>
<Relationships xmlns="http://schemas.openxmlformats.org/package/2006/relationships"><Relationship Id="rId3" Type="http://schemas.openxmlformats.org/officeDocument/2006/relationships/customXml" Target="../../customXml/item14.xml"/><Relationship Id="rId7" Type="http://schemas.openxmlformats.org/officeDocument/2006/relationships/image" Target="../media/image11.png"/><Relationship Id="rId2" Type="http://schemas.openxmlformats.org/officeDocument/2006/relationships/customXml" Target="../../customXml/item13.xml"/><Relationship Id="rId1" Type="http://schemas.openxmlformats.org/officeDocument/2006/relationships/tags" Target="../tags/tag56.xml"/><Relationship Id="rId6" Type="http://schemas.openxmlformats.org/officeDocument/2006/relationships/notesSlide" Target="../notesSlides/notesSlide32.xml"/><Relationship Id="rId5" Type="http://schemas.openxmlformats.org/officeDocument/2006/relationships/slideLayout" Target="../slideLayouts/slideLayout38.xml"/><Relationship Id="rId4" Type="http://schemas.openxmlformats.org/officeDocument/2006/relationships/tags" Target="../tags/tag57.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33.xml"/><Relationship Id="rId1" Type="http://schemas.openxmlformats.org/officeDocument/2006/relationships/slideLayout" Target="../slideLayouts/slideLayout38.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39.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notesSlide" Target="../notesSlides/notesSlide34.xml"/><Relationship Id="rId7" Type="http://schemas.openxmlformats.org/officeDocument/2006/relationships/diagramColors" Target="../diagrams/colors16.xml"/><Relationship Id="rId2" Type="http://schemas.openxmlformats.org/officeDocument/2006/relationships/slideLayout" Target="../slideLayouts/slideLayout37.xml"/><Relationship Id="rId1" Type="http://schemas.openxmlformats.org/officeDocument/2006/relationships/tags" Target="../tags/tag58.xml"/><Relationship Id="rId6" Type="http://schemas.openxmlformats.org/officeDocument/2006/relationships/diagramQuickStyle" Target="../diagrams/quickStyle16.xml"/><Relationship Id="rId5" Type="http://schemas.openxmlformats.org/officeDocument/2006/relationships/diagramLayout" Target="../diagrams/layout16.xml"/><Relationship Id="rId4" Type="http://schemas.openxmlformats.org/officeDocument/2006/relationships/diagramData" Target="../diagrams/data16.xml"/><Relationship Id="rId9" Type="http://schemas.openxmlformats.org/officeDocument/2006/relationships/image" Target="../media/image33.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5.xml"/><Relationship Id="rId1" Type="http://schemas.openxmlformats.org/officeDocument/2006/relationships/slideLayout" Target="../slideLayouts/slideLayout37.xml"/><Relationship Id="rId5" Type="http://schemas.openxmlformats.org/officeDocument/2006/relationships/image" Target="../media/image36.png"/><Relationship Id="rId4" Type="http://schemas.openxmlformats.org/officeDocument/2006/relationships/image" Target="../media/image35.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7.xml"/></Relationships>
</file>

<file path=ppt/slides/_rels/slide4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8.xml"/><Relationship Id="rId1" Type="http://schemas.openxmlformats.org/officeDocument/2006/relationships/slideLayout" Target="../slideLayouts/slideLayout37.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38.png"/><Relationship Id="rId4" Type="http://schemas.openxmlformats.org/officeDocument/2006/relationships/notesSlide" Target="../notesSlides/notesSlide39.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1.jfif"/><Relationship Id="rId4" Type="http://schemas.openxmlformats.org/officeDocument/2006/relationships/notesSlide" Target="../notesSlides/notesSlide40.xml"/></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41.xml"/><Relationship Id="rId1" Type="http://schemas.openxmlformats.org/officeDocument/2006/relationships/slideLayout" Target="../slideLayouts/slideLayout43.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5.xml"/><Relationship Id="rId7" Type="http://schemas.openxmlformats.org/officeDocument/2006/relationships/image" Target="../media/image11.png"/><Relationship Id="rId2" Type="http://schemas.openxmlformats.org/officeDocument/2006/relationships/customXml" Target="../../customXml/item4.xml"/><Relationship Id="rId1" Type="http://schemas.openxmlformats.org/officeDocument/2006/relationships/tags" Target="../tags/tag13.xml"/><Relationship Id="rId6" Type="http://schemas.openxmlformats.org/officeDocument/2006/relationships/notesSlide" Target="../notesSlides/notesSlide3.xml"/><Relationship Id="rId5" Type="http://schemas.openxmlformats.org/officeDocument/2006/relationships/slideLayout" Target="../slideLayouts/slideLayout38.xml"/><Relationship Id="rId4" Type="http://schemas.openxmlformats.org/officeDocument/2006/relationships/tags" Target="../tags/tag14.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76.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3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hyperlink" Target="https://learn.microsoft.com/en-us/sql/database-engine/configure-windows/configure-the-max-degree-of-parallelism-server-configuration-option?view=sql-server-ver16" TargetMode="External"/><Relationship Id="rId2" Type="http://schemas.openxmlformats.org/officeDocument/2006/relationships/notesSlide" Target="../notesSlides/notesSlide6.xml"/><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7.xml"/><Relationship Id="rId7" Type="http://schemas.openxmlformats.org/officeDocument/2006/relationships/diagramColors" Target="../diagrams/colors2.xml"/><Relationship Id="rId2" Type="http://schemas.openxmlformats.org/officeDocument/2006/relationships/slideLayout" Target="../slideLayouts/slideLayout38.xml"/><Relationship Id="rId1" Type="http://schemas.openxmlformats.org/officeDocument/2006/relationships/tags" Target="../tags/tag15.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SQL Server Processor and Memory Management</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2</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txBody>
          <a:bodyPr/>
          <a:lstStyle/>
          <a:p>
            <a:endParaRPr lang="en-US"/>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Performance Monitor Counters</a:t>
            </a:r>
          </a:p>
        </p:txBody>
      </p:sp>
      <p:sp>
        <p:nvSpPr>
          <p:cNvPr id="2" name="Text Placeholder 1"/>
          <p:cNvSpPr>
            <a:spLocks noGrp="1"/>
          </p:cNvSpPr>
          <p:nvPr>
            <p:ph sz="quarter" idx="13"/>
          </p:nvPr>
        </p:nvSpPr>
        <p:spPr/>
        <p:txBody>
          <a:bodyPr>
            <a:normAutofit/>
          </a:bodyPr>
          <a:lstStyle/>
          <a:p>
            <a:pPr marL="0" indent="0">
              <a:buNone/>
            </a:pPr>
            <a:r>
              <a:rPr lang="en-US" dirty="0">
                <a:solidFill>
                  <a:srgbClr val="000000"/>
                </a:solidFill>
                <a:latin typeface="Segoe UI" panose="020B0502040204020203" pitchFamily="34" charset="0"/>
              </a:rPr>
              <a:t>Important Operating System Counters</a:t>
            </a:r>
          </a:p>
          <a:p>
            <a:r>
              <a:rPr lang="en-US" sz="2000" dirty="0">
                <a:solidFill>
                  <a:srgbClr val="000000"/>
                </a:solidFill>
                <a:latin typeface="Segoe UI" panose="020B0502040204020203" pitchFamily="34" charset="0"/>
              </a:rPr>
              <a:t>% Processor Time</a:t>
            </a:r>
          </a:p>
          <a:p>
            <a:pPr lvl="1"/>
            <a:r>
              <a:rPr lang="en-US" sz="1600" dirty="0">
                <a:latin typeface="Segoe UI" panose="020B0502040204020203" pitchFamily="34" charset="0"/>
              </a:rPr>
              <a:t>Less than 80% is preferred</a:t>
            </a:r>
          </a:p>
        </p:txBody>
      </p:sp>
      <p:pic>
        <p:nvPicPr>
          <p:cNvPr id="4" name="Picture 3"/>
          <p:cNvPicPr>
            <a:picLocks noChangeAspect="1"/>
          </p:cNvPicPr>
          <p:nvPr/>
        </p:nvPicPr>
        <p:blipFill>
          <a:blip r:embed="rId4"/>
          <a:stretch>
            <a:fillRect/>
          </a:stretch>
        </p:blipFill>
        <p:spPr>
          <a:xfrm>
            <a:off x="6214946" y="1760539"/>
            <a:ext cx="4913644" cy="4114800"/>
          </a:xfrm>
          <a:prstGeom prst="rect">
            <a:avLst/>
          </a:prstGeom>
          <a:ln>
            <a:solidFill>
              <a:schemeClr val="tx1"/>
            </a:solidFill>
          </a:ln>
        </p:spPr>
      </p:pic>
    </p:spTree>
    <p:custDataLst>
      <p:tags r:id="rId1"/>
    </p:custDataLst>
    <p:extLst>
      <p:ext uri="{BB962C8B-B14F-4D97-AF65-F5344CB8AC3E}">
        <p14:creationId xmlns:p14="http://schemas.microsoft.com/office/powerpoint/2010/main" val="4894032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2: Non-Uniform Memory Access (NUMA)</a:t>
            </a:r>
          </a:p>
        </p:txBody>
      </p:sp>
    </p:spTree>
    <p:extLst>
      <p:ext uri="{BB962C8B-B14F-4D97-AF65-F5344CB8AC3E}">
        <p14:creationId xmlns:p14="http://schemas.microsoft.com/office/powerpoint/2010/main" val="19831138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ing Symmetric Multi-Processing (SMP)</a:t>
            </a:r>
          </a:p>
          <a:p>
            <a:r>
              <a:rPr lang="en-US" dirty="0"/>
              <a:t>Configuring Non-Uniform Memory Access (NUMA)</a:t>
            </a:r>
          </a:p>
          <a:p>
            <a:endParaRPr lang="en-US" dirty="0"/>
          </a:p>
          <a:p>
            <a:endParaRPr lang="en-US" dirty="0"/>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1841837535"/>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1" y="289957"/>
            <a:ext cx="11655840" cy="461665"/>
          </a:xfrm>
        </p:spPr>
        <p:txBody>
          <a:bodyPr/>
          <a:lstStyle/>
          <a:p>
            <a:r>
              <a:rPr lang="en-US" dirty="0"/>
              <a:t>Symmetric Multi-Processing (SMP)</a:t>
            </a:r>
          </a:p>
        </p:txBody>
      </p:sp>
      <p:grpSp>
        <p:nvGrpSpPr>
          <p:cNvPr id="8" name="Group 7">
            <a:extLst>
              <a:ext uri="{FF2B5EF4-FFF2-40B4-BE49-F238E27FC236}">
                <a16:creationId xmlns:a16="http://schemas.microsoft.com/office/drawing/2014/main" id="{089AFC44-8490-4924-8D5F-507791C6CA6B}"/>
              </a:ext>
            </a:extLst>
          </p:cNvPr>
          <p:cNvGrpSpPr/>
          <p:nvPr/>
        </p:nvGrpSpPr>
        <p:grpSpPr>
          <a:xfrm>
            <a:off x="1488891" y="1817627"/>
            <a:ext cx="9195924" cy="3341679"/>
            <a:chOff x="1518746" y="1545227"/>
            <a:chExt cx="9380321" cy="3408687"/>
          </a:xfrm>
        </p:grpSpPr>
        <p:cxnSp>
          <p:nvCxnSpPr>
            <p:cNvPr id="115" name="Elbow Connector 114"/>
            <p:cNvCxnSpPr>
              <a:stCxn id="134" idx="2"/>
              <a:endCxn id="130" idx="2"/>
            </p:cNvCxnSpPr>
            <p:nvPr/>
          </p:nvCxnSpPr>
          <p:spPr>
            <a:xfrm rot="16200000" flipH="1">
              <a:off x="2663028" y="2169297"/>
              <a:ext cx="19749" cy="1177744"/>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116" name="Elbow Connector 115"/>
            <p:cNvCxnSpPr>
              <a:stCxn id="130" idx="2"/>
              <a:endCxn id="126" idx="2"/>
            </p:cNvCxnSpPr>
            <p:nvPr/>
          </p:nvCxnSpPr>
          <p:spPr>
            <a:xfrm rot="16200000" flipH="1">
              <a:off x="3840772" y="2169297"/>
              <a:ext cx="19749" cy="1177744"/>
            </a:xfrm>
            <a:prstGeom prst="bentConnector3">
              <a:avLst>
                <a:gd name="adj1" fmla="val 1800000"/>
              </a:avLst>
            </a:prstGeom>
            <a:noFill/>
            <a:ln w="25400" cap="flat" cmpd="sng" algn="ctr">
              <a:solidFill>
                <a:srgbClr val="002050">
                  <a:lumMod val="90000"/>
                  <a:lumOff val="10000"/>
                </a:srgbClr>
              </a:solidFill>
              <a:prstDash val="solid"/>
            </a:ln>
            <a:effectLst>
              <a:outerShdw blurRad="40000" dist="20000" dir="5400000" rotWithShape="0">
                <a:srgbClr val="000000">
                  <a:alpha val="38000"/>
                </a:srgbClr>
              </a:outerShdw>
            </a:effectLst>
          </p:spPr>
        </p:cxnSp>
        <p:cxnSp>
          <p:nvCxnSpPr>
            <p:cNvPr id="117" name="Elbow Connector 116"/>
            <p:cNvCxnSpPr>
              <a:stCxn id="126" idx="2"/>
              <a:endCxn id="122" idx="2"/>
            </p:cNvCxnSpPr>
            <p:nvPr/>
          </p:nvCxnSpPr>
          <p:spPr>
            <a:xfrm rot="16200000" flipH="1">
              <a:off x="5018514" y="2169297"/>
              <a:ext cx="19749" cy="1177742"/>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grpSp>
          <p:nvGrpSpPr>
            <p:cNvPr id="118" name="Group 117"/>
            <p:cNvGrpSpPr/>
            <p:nvPr/>
          </p:nvGrpSpPr>
          <p:grpSpPr>
            <a:xfrm>
              <a:off x="1518746" y="1545227"/>
              <a:ext cx="1110013" cy="1212942"/>
              <a:chOff x="2133600" y="914328"/>
              <a:chExt cx="685800" cy="780020"/>
            </a:xfrm>
          </p:grpSpPr>
          <p:sp>
            <p:nvSpPr>
              <p:cNvPr id="134" name="Rounded Rectangle 133"/>
              <p:cNvSpPr/>
              <p:nvPr/>
            </p:nvSpPr>
            <p:spPr>
              <a:xfrm>
                <a:off x="2133600"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135" name="Straight Connector 134"/>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36" name="TextBox 135"/>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137" name="TextBox 136"/>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grpSp>
          <p:nvGrpSpPr>
            <p:cNvPr id="119" name="Group 118"/>
            <p:cNvGrpSpPr/>
            <p:nvPr/>
          </p:nvGrpSpPr>
          <p:grpSpPr>
            <a:xfrm>
              <a:off x="2696490" y="1545227"/>
              <a:ext cx="1115895" cy="1212942"/>
              <a:chOff x="2129966" y="914328"/>
              <a:chExt cx="689434" cy="780020"/>
            </a:xfrm>
          </p:grpSpPr>
          <p:sp>
            <p:nvSpPr>
              <p:cNvPr id="130" name="Rounded Rectangle 129"/>
              <p:cNvSpPr/>
              <p:nvPr/>
            </p:nvSpPr>
            <p:spPr>
              <a:xfrm>
                <a:off x="2129966"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131" name="Straight Connector 130"/>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32" name="TextBox 131"/>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a:solidFill>
                      <a:prstClr val="white"/>
                    </a:solidFill>
                    <a:effectLst>
                      <a:outerShdw blurRad="38100" dist="38100" dir="2700000" algn="tl">
                        <a:srgbClr val="000000">
                          <a:alpha val="43137"/>
                        </a:srgbClr>
                      </a:outerShdw>
                    </a:effectLst>
                  </a:rPr>
                  <a:t>Processor</a:t>
                </a:r>
              </a:p>
            </p:txBody>
          </p:sp>
          <p:sp>
            <p:nvSpPr>
              <p:cNvPr id="133" name="TextBox 132"/>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grpSp>
          <p:nvGrpSpPr>
            <p:cNvPr id="120" name="Group 119"/>
            <p:cNvGrpSpPr/>
            <p:nvPr/>
          </p:nvGrpSpPr>
          <p:grpSpPr>
            <a:xfrm>
              <a:off x="3872937" y="1545227"/>
              <a:ext cx="1111310" cy="1212942"/>
              <a:chOff x="2133600" y="916731"/>
              <a:chExt cx="686601" cy="780020"/>
            </a:xfrm>
          </p:grpSpPr>
          <p:sp>
            <p:nvSpPr>
              <p:cNvPr id="126" name="Rounded Rectangle 125"/>
              <p:cNvSpPr/>
              <p:nvPr/>
            </p:nvSpPr>
            <p:spPr>
              <a:xfrm>
                <a:off x="2134401" y="916731"/>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127" name="Straight Connector 126"/>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28" name="TextBox 127"/>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a:solidFill>
                      <a:prstClr val="white"/>
                    </a:solidFill>
                    <a:effectLst>
                      <a:outerShdw blurRad="38100" dist="38100" dir="2700000" algn="tl">
                        <a:srgbClr val="000000">
                          <a:alpha val="43137"/>
                        </a:srgbClr>
                      </a:outerShdw>
                    </a:effectLst>
                  </a:rPr>
                  <a:t>Processor</a:t>
                </a:r>
              </a:p>
            </p:txBody>
          </p:sp>
          <p:sp>
            <p:nvSpPr>
              <p:cNvPr id="129" name="TextBox 128"/>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grpSp>
          <p:nvGrpSpPr>
            <p:cNvPr id="121" name="Group 120"/>
            <p:cNvGrpSpPr/>
            <p:nvPr/>
          </p:nvGrpSpPr>
          <p:grpSpPr>
            <a:xfrm>
              <a:off x="5051976" y="1545227"/>
              <a:ext cx="1110013" cy="1212942"/>
              <a:chOff x="2133600" y="912068"/>
              <a:chExt cx="685800" cy="780020"/>
            </a:xfrm>
          </p:grpSpPr>
          <p:sp>
            <p:nvSpPr>
              <p:cNvPr id="122" name="Rounded Rectangle 121"/>
              <p:cNvSpPr/>
              <p:nvPr/>
            </p:nvSpPr>
            <p:spPr>
              <a:xfrm>
                <a:off x="2133600" y="91206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123" name="Straight Connector 122"/>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24" name="TextBox 123"/>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a:solidFill>
                      <a:prstClr val="white"/>
                    </a:solidFill>
                    <a:effectLst>
                      <a:outerShdw blurRad="38100" dist="38100" dir="2700000" algn="tl">
                        <a:srgbClr val="000000">
                          <a:alpha val="43137"/>
                        </a:srgbClr>
                      </a:outerShdw>
                    </a:effectLst>
                  </a:rPr>
                  <a:t>Processor</a:t>
                </a:r>
              </a:p>
            </p:txBody>
          </p:sp>
          <p:sp>
            <p:nvSpPr>
              <p:cNvPr id="125" name="TextBox 124"/>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cxnSp>
          <p:nvCxnSpPr>
            <p:cNvPr id="111" name="Straight Connector 110"/>
            <p:cNvCxnSpPr>
              <a:cxnSpLocks/>
            </p:cNvCxnSpPr>
            <p:nvPr/>
          </p:nvCxnSpPr>
          <p:spPr>
            <a:xfrm>
              <a:off x="6206908" y="3104647"/>
              <a:ext cx="0" cy="1532046"/>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grpSp>
          <p:nvGrpSpPr>
            <p:cNvPr id="77" name="Group 76"/>
            <p:cNvGrpSpPr/>
            <p:nvPr/>
          </p:nvGrpSpPr>
          <p:grpSpPr>
            <a:xfrm>
              <a:off x="6255824" y="1545227"/>
              <a:ext cx="4643243" cy="1222817"/>
              <a:chOff x="2133600" y="914328"/>
              <a:chExt cx="2868737" cy="786370"/>
            </a:xfrm>
          </p:grpSpPr>
          <p:cxnSp>
            <p:nvCxnSpPr>
              <p:cNvPr id="84" name="Elbow Connector 83"/>
              <p:cNvCxnSpPr>
                <a:stCxn id="103" idx="2"/>
                <a:endCxn id="99" idx="2"/>
              </p:cNvCxnSpPr>
              <p:nvPr/>
            </p:nvCxnSpPr>
            <p:spPr>
              <a:xfrm rot="16200000" flipH="1">
                <a:off x="2840323" y="1330525"/>
                <a:ext cx="12700" cy="727646"/>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85" name="Elbow Connector 84"/>
              <p:cNvCxnSpPr>
                <a:stCxn id="99" idx="2"/>
                <a:endCxn id="95" idx="2"/>
              </p:cNvCxnSpPr>
              <p:nvPr/>
            </p:nvCxnSpPr>
            <p:spPr>
              <a:xfrm rot="16200000" flipH="1">
                <a:off x="3567969" y="1330525"/>
                <a:ext cx="12700" cy="727646"/>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86" name="Elbow Connector 85"/>
              <p:cNvCxnSpPr>
                <a:stCxn id="95" idx="2"/>
                <a:endCxn id="91" idx="2"/>
              </p:cNvCxnSpPr>
              <p:nvPr/>
            </p:nvCxnSpPr>
            <p:spPr>
              <a:xfrm rot="16200000" flipH="1">
                <a:off x="4295614" y="1330525"/>
                <a:ext cx="12700" cy="727645"/>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grpSp>
            <p:nvGrpSpPr>
              <p:cNvPr id="87" name="Group 86"/>
              <p:cNvGrpSpPr/>
              <p:nvPr/>
            </p:nvGrpSpPr>
            <p:grpSpPr>
              <a:xfrm>
                <a:off x="2133600" y="914328"/>
                <a:ext cx="685800" cy="780020"/>
                <a:chOff x="2133600" y="914328"/>
                <a:chExt cx="685800" cy="780020"/>
              </a:xfrm>
            </p:grpSpPr>
            <p:sp>
              <p:nvSpPr>
                <p:cNvPr id="103" name="Rounded Rectangle 102"/>
                <p:cNvSpPr/>
                <p:nvPr/>
              </p:nvSpPr>
              <p:spPr>
                <a:xfrm>
                  <a:off x="2133600"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104" name="Straight Connector 103"/>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05" name="TextBox 104"/>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a:solidFill>
                        <a:prstClr val="white"/>
                      </a:solidFill>
                      <a:effectLst>
                        <a:outerShdw blurRad="38100" dist="38100" dir="2700000" algn="tl">
                          <a:srgbClr val="000000">
                            <a:alpha val="43137"/>
                          </a:srgbClr>
                        </a:outerShdw>
                      </a:effectLst>
                    </a:rPr>
                    <a:t>Processor</a:t>
                  </a:r>
                </a:p>
              </p:txBody>
            </p:sp>
            <p:sp>
              <p:nvSpPr>
                <p:cNvPr id="106" name="TextBox 105"/>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grpSp>
            <p:nvGrpSpPr>
              <p:cNvPr id="88" name="Group 87"/>
              <p:cNvGrpSpPr/>
              <p:nvPr/>
            </p:nvGrpSpPr>
            <p:grpSpPr>
              <a:xfrm>
                <a:off x="2861246" y="914328"/>
                <a:ext cx="689434" cy="780020"/>
                <a:chOff x="2129966" y="914328"/>
                <a:chExt cx="689434" cy="780020"/>
              </a:xfrm>
            </p:grpSpPr>
            <p:sp>
              <p:nvSpPr>
                <p:cNvPr id="99" name="Rounded Rectangle 98"/>
                <p:cNvSpPr/>
                <p:nvPr/>
              </p:nvSpPr>
              <p:spPr>
                <a:xfrm>
                  <a:off x="2129966"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100" name="Straight Connector 99"/>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01" name="TextBox 100"/>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a:solidFill>
                        <a:prstClr val="white"/>
                      </a:solidFill>
                      <a:effectLst>
                        <a:outerShdw blurRad="38100" dist="38100" dir="2700000" algn="tl">
                          <a:srgbClr val="000000">
                            <a:alpha val="43137"/>
                          </a:srgbClr>
                        </a:outerShdw>
                      </a:effectLst>
                    </a:rPr>
                    <a:t>Processor</a:t>
                  </a:r>
                </a:p>
              </p:txBody>
            </p:sp>
            <p:sp>
              <p:nvSpPr>
                <p:cNvPr id="102" name="TextBox 101"/>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grpSp>
            <p:nvGrpSpPr>
              <p:cNvPr id="89" name="Group 88"/>
              <p:cNvGrpSpPr/>
              <p:nvPr/>
            </p:nvGrpSpPr>
            <p:grpSpPr>
              <a:xfrm>
                <a:off x="3588091" y="914328"/>
                <a:ext cx="686601" cy="780020"/>
                <a:chOff x="2133600" y="916731"/>
                <a:chExt cx="686601" cy="780020"/>
              </a:xfrm>
            </p:grpSpPr>
            <p:sp>
              <p:nvSpPr>
                <p:cNvPr id="95" name="Rounded Rectangle 94"/>
                <p:cNvSpPr/>
                <p:nvPr/>
              </p:nvSpPr>
              <p:spPr>
                <a:xfrm>
                  <a:off x="2134401" y="916731"/>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96" name="Straight Connector 95"/>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97" name="TextBox 96"/>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a:solidFill>
                        <a:prstClr val="white"/>
                      </a:solidFill>
                      <a:effectLst>
                        <a:outerShdw blurRad="38100" dist="38100" dir="2700000" algn="tl">
                          <a:srgbClr val="000000">
                            <a:alpha val="43137"/>
                          </a:srgbClr>
                        </a:outerShdw>
                      </a:effectLst>
                    </a:rPr>
                    <a:t>Processor</a:t>
                  </a:r>
                </a:p>
              </p:txBody>
            </p:sp>
            <p:sp>
              <p:nvSpPr>
                <p:cNvPr id="98" name="TextBox 97"/>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grpSp>
            <p:nvGrpSpPr>
              <p:cNvPr id="90" name="Group 89"/>
              <p:cNvGrpSpPr/>
              <p:nvPr/>
            </p:nvGrpSpPr>
            <p:grpSpPr>
              <a:xfrm>
                <a:off x="4316537" y="914328"/>
                <a:ext cx="685800" cy="780020"/>
                <a:chOff x="2133600" y="912068"/>
                <a:chExt cx="685800" cy="780020"/>
              </a:xfrm>
            </p:grpSpPr>
            <p:sp>
              <p:nvSpPr>
                <p:cNvPr id="91" name="Rounded Rectangle 90"/>
                <p:cNvSpPr/>
                <p:nvPr/>
              </p:nvSpPr>
              <p:spPr>
                <a:xfrm>
                  <a:off x="2133600" y="91206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92" name="Straight Connector 91"/>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93" name="TextBox 92"/>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a:solidFill>
                        <a:prstClr val="white"/>
                      </a:solidFill>
                      <a:effectLst>
                        <a:outerShdw blurRad="38100" dist="38100" dir="2700000" algn="tl">
                          <a:srgbClr val="000000">
                            <a:alpha val="43137"/>
                          </a:srgbClr>
                        </a:outerShdw>
                      </a:effectLst>
                    </a:rPr>
                    <a:t>Processor</a:t>
                  </a:r>
                </a:p>
              </p:txBody>
            </p:sp>
            <p:sp>
              <p:nvSpPr>
                <p:cNvPr id="94" name="TextBox 93"/>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grpSp>
        <p:cxnSp>
          <p:nvCxnSpPr>
            <p:cNvPr id="74" name="Straight Connector 73"/>
            <p:cNvCxnSpPr>
              <a:cxnSpLocks/>
            </p:cNvCxnSpPr>
            <p:nvPr/>
          </p:nvCxnSpPr>
          <p:spPr>
            <a:xfrm>
              <a:off x="5617260" y="3090547"/>
              <a:ext cx="1203848" cy="0"/>
            </a:xfrm>
            <a:prstGeom prst="line">
              <a:avLst/>
            </a:prstGeom>
            <a:noFill/>
            <a:ln w="19050" cap="flat" cmpd="sng" algn="ctr">
              <a:solidFill>
                <a:srgbClr val="002050"/>
              </a:solidFill>
              <a:prstDash val="solid"/>
            </a:ln>
            <a:effectLst>
              <a:outerShdw blurRad="40000" dist="20000" dir="5400000" rotWithShape="0">
                <a:srgbClr val="000000">
                  <a:alpha val="38000"/>
                </a:srgbClr>
              </a:outerShdw>
            </a:effectLst>
          </p:spPr>
        </p:cxnSp>
        <p:grpSp>
          <p:nvGrpSpPr>
            <p:cNvPr id="109" name="Group 108"/>
            <p:cNvGrpSpPr/>
            <p:nvPr/>
          </p:nvGrpSpPr>
          <p:grpSpPr>
            <a:xfrm>
              <a:off x="5131838" y="4391187"/>
              <a:ext cx="2172797" cy="562727"/>
              <a:chOff x="2848579" y="2343146"/>
              <a:chExt cx="1342421" cy="361879"/>
            </a:xfrm>
          </p:grpSpPr>
          <p:sp>
            <p:nvSpPr>
              <p:cNvPr id="113" name="Rounded Rectangle 112"/>
              <p:cNvSpPr/>
              <p:nvPr/>
            </p:nvSpPr>
            <p:spPr>
              <a:xfrm>
                <a:off x="2848579" y="2343146"/>
                <a:ext cx="1342421" cy="361879"/>
              </a:xfrm>
              <a:prstGeom prst="roundRect">
                <a:avLst/>
              </a:prstGeom>
              <a:solidFill>
                <a:srgbClr val="002050">
                  <a:lumMod val="90000"/>
                  <a:lumOff val="1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sp>
            <p:nvSpPr>
              <p:cNvPr id="114" name="TextBox 113"/>
              <p:cNvSpPr txBox="1"/>
              <p:nvPr/>
            </p:nvSpPr>
            <p:spPr>
              <a:xfrm>
                <a:off x="2891483" y="2393283"/>
                <a:ext cx="1256611" cy="205722"/>
              </a:xfrm>
              <a:prstGeom prst="rect">
                <a:avLst/>
              </a:prstGeom>
              <a:noFill/>
            </p:spPr>
            <p:txBody>
              <a:bodyPr wrap="square" rtlCol="0">
                <a:spAutoFit/>
              </a:bodyPr>
              <a:lstStyle/>
              <a:p>
                <a:pPr algn="ctr" defTabSz="448193">
                  <a:defRPr/>
                </a:pPr>
                <a:r>
                  <a:rPr lang="en-US" sz="1438" kern="0">
                    <a:solidFill>
                      <a:prstClr val="white"/>
                    </a:solidFill>
                    <a:effectLst>
                      <a:outerShdw blurRad="38100" dist="38100" dir="2700000" algn="tl">
                        <a:srgbClr val="000000">
                          <a:alpha val="43137"/>
                        </a:srgbClr>
                      </a:outerShdw>
                    </a:effectLst>
                  </a:rPr>
                  <a:t>Memory</a:t>
                </a:r>
              </a:p>
            </p:txBody>
          </p:sp>
        </p:grpSp>
      </p:grpSp>
      <p:sp>
        <p:nvSpPr>
          <p:cNvPr id="138" name="TextBox 137">
            <a:extLst>
              <a:ext uri="{FF2B5EF4-FFF2-40B4-BE49-F238E27FC236}">
                <a16:creationId xmlns:a16="http://schemas.microsoft.com/office/drawing/2014/main" id="{5592A077-E754-4199-B26A-006A4215DB5F}"/>
              </a:ext>
            </a:extLst>
          </p:cNvPr>
          <p:cNvSpPr txBox="1"/>
          <p:nvPr/>
        </p:nvSpPr>
        <p:spPr>
          <a:xfrm>
            <a:off x="3886442" y="3381442"/>
            <a:ext cx="2927570" cy="362072"/>
          </a:xfrm>
          <a:prstGeom prst="rect">
            <a:avLst/>
          </a:prstGeom>
          <a:noFill/>
        </p:spPr>
        <p:txBody>
          <a:bodyPr wrap="square" rtlCol="0">
            <a:spAutoFit/>
          </a:bodyPr>
          <a:lstStyle/>
          <a:p>
            <a:pPr algn="ctr" defTabSz="448193">
              <a:defRPr/>
            </a:pPr>
            <a:r>
              <a:rPr lang="en-US" sz="1765" b="1" kern="0" dirty="0">
                <a:solidFill>
                  <a:srgbClr val="000000"/>
                </a:solidFill>
              </a:rPr>
              <a:t>Shared Bus</a:t>
            </a:r>
            <a:endParaRPr lang="en-US" sz="2745" b="1" kern="0" dirty="0">
              <a:solidFill>
                <a:srgbClr val="000000"/>
              </a:solidFill>
            </a:endParaRPr>
          </a:p>
        </p:txBody>
      </p:sp>
    </p:spTree>
    <p:custDataLst>
      <p:tags r:id="rId1"/>
    </p:custDataLst>
    <p:extLst>
      <p:ext uri="{BB962C8B-B14F-4D97-AF65-F5344CB8AC3E}">
        <p14:creationId xmlns:p14="http://schemas.microsoft.com/office/powerpoint/2010/main" val="227828509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8368" y="289957"/>
            <a:ext cx="11655840" cy="461665"/>
          </a:xfrm>
        </p:spPr>
        <p:txBody>
          <a:bodyPr/>
          <a:lstStyle/>
          <a:p>
            <a:r>
              <a:rPr lang="en-US" dirty="0"/>
              <a:t>Non-Uniform Memory Access (NUMA)</a:t>
            </a:r>
          </a:p>
        </p:txBody>
      </p:sp>
      <p:grpSp>
        <p:nvGrpSpPr>
          <p:cNvPr id="71" name="Group 70"/>
          <p:cNvGrpSpPr/>
          <p:nvPr/>
        </p:nvGrpSpPr>
        <p:grpSpPr>
          <a:xfrm>
            <a:off x="926474" y="1345124"/>
            <a:ext cx="10341373" cy="4673449"/>
            <a:chOff x="2064398" y="914398"/>
            <a:chExt cx="6517332" cy="3065663"/>
          </a:xfrm>
        </p:grpSpPr>
        <p:grpSp>
          <p:nvGrpSpPr>
            <p:cNvPr id="72" name="Group 71"/>
            <p:cNvGrpSpPr/>
            <p:nvPr/>
          </p:nvGrpSpPr>
          <p:grpSpPr>
            <a:xfrm>
              <a:off x="2064398" y="914398"/>
              <a:ext cx="3124200" cy="2762339"/>
              <a:chOff x="2081064" y="819150"/>
              <a:chExt cx="3124199" cy="2762347"/>
            </a:xfrm>
          </p:grpSpPr>
          <p:sp>
            <p:nvSpPr>
              <p:cNvPr id="107" name="Rectangle 106"/>
              <p:cNvSpPr/>
              <p:nvPr/>
            </p:nvSpPr>
            <p:spPr>
              <a:xfrm>
                <a:off x="2081064" y="819150"/>
                <a:ext cx="3124199" cy="1981201"/>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48193">
                  <a:defRPr/>
                </a:pPr>
                <a:endParaRPr lang="en-US" sz="2353" kern="0" dirty="0">
                  <a:solidFill>
                    <a:srgbClr val="000000"/>
                  </a:solidFill>
                  <a:latin typeface="Segoe UI"/>
                </a:endParaRPr>
              </a:p>
            </p:txBody>
          </p:sp>
          <p:grpSp>
            <p:nvGrpSpPr>
              <p:cNvPr id="108" name="Group 107"/>
              <p:cNvGrpSpPr/>
              <p:nvPr/>
            </p:nvGrpSpPr>
            <p:grpSpPr>
              <a:xfrm>
                <a:off x="2199018" y="930806"/>
                <a:ext cx="2868736" cy="786370"/>
                <a:chOff x="2133600" y="914328"/>
                <a:chExt cx="2868737" cy="786370"/>
              </a:xfrm>
            </p:grpSpPr>
            <p:cxnSp>
              <p:nvCxnSpPr>
                <p:cNvPr id="115" name="Elbow Connector 114"/>
                <p:cNvCxnSpPr>
                  <a:stCxn id="134" idx="2"/>
                  <a:endCxn id="130" idx="2"/>
                </p:cNvCxnSpPr>
                <p:nvPr/>
              </p:nvCxnSpPr>
              <p:spPr>
                <a:xfrm rot="16200000" flipH="1">
                  <a:off x="2840323" y="1330525"/>
                  <a:ext cx="12700" cy="727646"/>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116" name="Elbow Connector 115"/>
                <p:cNvCxnSpPr>
                  <a:stCxn id="130" idx="2"/>
                  <a:endCxn id="126" idx="2"/>
                </p:cNvCxnSpPr>
                <p:nvPr/>
              </p:nvCxnSpPr>
              <p:spPr>
                <a:xfrm rot="16200000" flipH="1">
                  <a:off x="3567969" y="1330525"/>
                  <a:ext cx="12700" cy="727646"/>
                </a:xfrm>
                <a:prstGeom prst="bentConnector3">
                  <a:avLst>
                    <a:gd name="adj1" fmla="val 1800000"/>
                  </a:avLst>
                </a:prstGeom>
                <a:noFill/>
                <a:ln w="25400" cap="flat" cmpd="sng" algn="ctr">
                  <a:solidFill>
                    <a:srgbClr val="002050">
                      <a:lumMod val="90000"/>
                      <a:lumOff val="10000"/>
                    </a:srgbClr>
                  </a:solidFill>
                  <a:prstDash val="solid"/>
                </a:ln>
                <a:effectLst>
                  <a:outerShdw blurRad="40000" dist="20000" dir="5400000" rotWithShape="0">
                    <a:srgbClr val="000000">
                      <a:alpha val="38000"/>
                    </a:srgbClr>
                  </a:outerShdw>
                </a:effectLst>
              </p:spPr>
            </p:cxnSp>
            <p:cxnSp>
              <p:nvCxnSpPr>
                <p:cNvPr id="117" name="Elbow Connector 116"/>
                <p:cNvCxnSpPr>
                  <a:stCxn id="126" idx="2"/>
                  <a:endCxn id="122" idx="2"/>
                </p:cNvCxnSpPr>
                <p:nvPr/>
              </p:nvCxnSpPr>
              <p:spPr>
                <a:xfrm rot="16200000" flipH="1">
                  <a:off x="4295614" y="1330525"/>
                  <a:ext cx="12700" cy="727645"/>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grpSp>
              <p:nvGrpSpPr>
                <p:cNvPr id="118" name="Group 117"/>
                <p:cNvGrpSpPr/>
                <p:nvPr/>
              </p:nvGrpSpPr>
              <p:grpSpPr>
                <a:xfrm>
                  <a:off x="2133600" y="914328"/>
                  <a:ext cx="685800" cy="780020"/>
                  <a:chOff x="2133600" y="914328"/>
                  <a:chExt cx="685800" cy="780020"/>
                </a:xfrm>
              </p:grpSpPr>
              <p:sp>
                <p:nvSpPr>
                  <p:cNvPr id="134" name="Rounded Rectangle 133"/>
                  <p:cNvSpPr/>
                  <p:nvPr/>
                </p:nvSpPr>
                <p:spPr>
                  <a:xfrm>
                    <a:off x="2133600"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35" name="Straight Connector 134"/>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36" name="TextBox 135"/>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137" name="TextBox 136"/>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nvGrpSpPr>
                <p:cNvPr id="119" name="Group 118"/>
                <p:cNvGrpSpPr/>
                <p:nvPr/>
              </p:nvGrpSpPr>
              <p:grpSpPr>
                <a:xfrm>
                  <a:off x="2861246" y="914328"/>
                  <a:ext cx="689434" cy="780020"/>
                  <a:chOff x="2129966" y="914328"/>
                  <a:chExt cx="689434" cy="780020"/>
                </a:xfrm>
              </p:grpSpPr>
              <p:sp>
                <p:nvSpPr>
                  <p:cNvPr id="130" name="Rounded Rectangle 129"/>
                  <p:cNvSpPr/>
                  <p:nvPr/>
                </p:nvSpPr>
                <p:spPr>
                  <a:xfrm>
                    <a:off x="2129966"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31" name="Straight Connector 130"/>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32" name="TextBox 131"/>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133" name="TextBox 132"/>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nvGrpSpPr>
                <p:cNvPr id="120" name="Group 119"/>
                <p:cNvGrpSpPr/>
                <p:nvPr/>
              </p:nvGrpSpPr>
              <p:grpSpPr>
                <a:xfrm>
                  <a:off x="3588091" y="914328"/>
                  <a:ext cx="686601" cy="780020"/>
                  <a:chOff x="2133600" y="916731"/>
                  <a:chExt cx="686601" cy="780020"/>
                </a:xfrm>
              </p:grpSpPr>
              <p:sp>
                <p:nvSpPr>
                  <p:cNvPr id="126" name="Rounded Rectangle 125"/>
                  <p:cNvSpPr/>
                  <p:nvPr/>
                </p:nvSpPr>
                <p:spPr>
                  <a:xfrm>
                    <a:off x="2134401" y="916731"/>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27" name="Straight Connector 126"/>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28" name="TextBox 127"/>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129" name="TextBox 128"/>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nvGrpSpPr>
                <p:cNvPr id="121" name="Group 120"/>
                <p:cNvGrpSpPr/>
                <p:nvPr/>
              </p:nvGrpSpPr>
              <p:grpSpPr>
                <a:xfrm>
                  <a:off x="4316537" y="914328"/>
                  <a:ext cx="685800" cy="780020"/>
                  <a:chOff x="2133600" y="912068"/>
                  <a:chExt cx="685800" cy="780020"/>
                </a:xfrm>
              </p:grpSpPr>
              <p:sp>
                <p:nvSpPr>
                  <p:cNvPr id="122" name="Rounded Rectangle 121"/>
                  <p:cNvSpPr/>
                  <p:nvPr/>
                </p:nvSpPr>
                <p:spPr>
                  <a:xfrm>
                    <a:off x="2133600" y="91206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23" name="Straight Connector 122"/>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24" name="TextBox 123"/>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125" name="TextBox 124"/>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grpSp>
            <p:nvGrpSpPr>
              <p:cNvPr id="109" name="Group 108"/>
              <p:cNvGrpSpPr/>
              <p:nvPr/>
            </p:nvGrpSpPr>
            <p:grpSpPr>
              <a:xfrm>
                <a:off x="2971954" y="2234387"/>
                <a:ext cx="1342420" cy="361879"/>
                <a:chOff x="2848579" y="2343146"/>
                <a:chExt cx="1342421" cy="361879"/>
              </a:xfrm>
            </p:grpSpPr>
            <p:sp>
              <p:nvSpPr>
                <p:cNvPr id="113" name="Rounded Rectangle 112"/>
                <p:cNvSpPr/>
                <p:nvPr/>
              </p:nvSpPr>
              <p:spPr>
                <a:xfrm>
                  <a:off x="2848579" y="2343146"/>
                  <a:ext cx="1342421" cy="361879"/>
                </a:xfrm>
                <a:prstGeom prst="roundRect">
                  <a:avLst/>
                </a:prstGeom>
                <a:solidFill>
                  <a:srgbClr val="002050">
                    <a:lumMod val="90000"/>
                    <a:lumOff val="1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sp>
              <p:nvSpPr>
                <p:cNvPr id="114" name="TextBox 113"/>
                <p:cNvSpPr txBox="1"/>
                <p:nvPr/>
              </p:nvSpPr>
              <p:spPr>
                <a:xfrm>
                  <a:off x="2891483" y="2393283"/>
                  <a:ext cx="1256611" cy="205722"/>
                </a:xfrm>
                <a:prstGeom prst="rect">
                  <a:avLst/>
                </a:prstGeom>
                <a:noFill/>
              </p:spPr>
              <p:txBody>
                <a:bodyPr wrap="square" rtlCol="0">
                  <a:spAutoFit/>
                </a:bodyPr>
                <a:lstStyle/>
                <a:p>
                  <a:pPr algn="ctr" defTabSz="448193">
                    <a:defRPr/>
                  </a:pPr>
                  <a:r>
                    <a:rPr lang="en-US" sz="1438" kern="0" dirty="0">
                      <a:solidFill>
                        <a:prstClr val="white"/>
                      </a:solidFill>
                      <a:effectLst>
                        <a:outerShdw blurRad="38100" dist="38100" dir="2700000" algn="tl">
                          <a:srgbClr val="000000">
                            <a:alpha val="43137"/>
                          </a:srgbClr>
                        </a:outerShdw>
                      </a:effectLst>
                    </a:rPr>
                    <a:t>Memory</a:t>
                  </a:r>
                </a:p>
              </p:txBody>
            </p:sp>
          </p:grpSp>
          <p:cxnSp>
            <p:nvCxnSpPr>
              <p:cNvPr id="110" name="Straight Connector 109"/>
              <p:cNvCxnSpPr>
                <a:stCxn id="113" idx="0"/>
              </p:cNvCxnSpPr>
              <p:nvPr/>
            </p:nvCxnSpPr>
            <p:spPr>
              <a:xfrm flipV="1">
                <a:off x="3643165" y="1942844"/>
                <a:ext cx="0" cy="291543"/>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111" name="Straight Connector 110"/>
              <p:cNvCxnSpPr>
                <a:stCxn id="113" idx="2"/>
              </p:cNvCxnSpPr>
              <p:nvPr/>
            </p:nvCxnSpPr>
            <p:spPr>
              <a:xfrm>
                <a:off x="3643164" y="2596267"/>
                <a:ext cx="0" cy="985230"/>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sp>
            <p:nvSpPr>
              <p:cNvPr id="112" name="TextBox 111"/>
              <p:cNvSpPr txBox="1"/>
              <p:nvPr/>
            </p:nvSpPr>
            <p:spPr>
              <a:xfrm>
                <a:off x="2130835" y="2429433"/>
                <a:ext cx="731280" cy="217717"/>
              </a:xfrm>
              <a:prstGeom prst="rect">
                <a:avLst/>
              </a:prstGeom>
              <a:noFill/>
            </p:spPr>
            <p:txBody>
              <a:bodyPr wrap="square" rtlCol="0">
                <a:spAutoFit/>
              </a:bodyPr>
              <a:lstStyle/>
              <a:p>
                <a:pPr defTabSz="448193">
                  <a:defRPr/>
                </a:pPr>
                <a:r>
                  <a:rPr lang="en-US" sz="1568" b="1" kern="0" dirty="0">
                    <a:solidFill>
                      <a:srgbClr val="000000"/>
                    </a:solidFill>
                  </a:rPr>
                  <a:t>Node 0</a:t>
                </a:r>
                <a:endParaRPr lang="en-US" sz="3659" b="1" kern="0" dirty="0">
                  <a:solidFill>
                    <a:srgbClr val="000000"/>
                  </a:solidFill>
                </a:endParaRPr>
              </a:p>
            </p:txBody>
          </p:sp>
        </p:grpSp>
        <p:grpSp>
          <p:nvGrpSpPr>
            <p:cNvPr id="73" name="Group 72"/>
            <p:cNvGrpSpPr/>
            <p:nvPr/>
          </p:nvGrpSpPr>
          <p:grpSpPr>
            <a:xfrm>
              <a:off x="5457530" y="914398"/>
              <a:ext cx="3124200" cy="2762339"/>
              <a:chOff x="2081065" y="819150"/>
              <a:chExt cx="3124200" cy="2762344"/>
            </a:xfrm>
          </p:grpSpPr>
          <p:sp>
            <p:nvSpPr>
              <p:cNvPr id="76" name="Rectangle 75"/>
              <p:cNvSpPr/>
              <p:nvPr/>
            </p:nvSpPr>
            <p:spPr>
              <a:xfrm>
                <a:off x="2081065" y="819150"/>
                <a:ext cx="3124200" cy="1981200"/>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48193">
                  <a:defRPr/>
                </a:pPr>
                <a:endParaRPr lang="en-US" sz="2353" kern="0" dirty="0">
                  <a:solidFill>
                    <a:srgbClr val="000000"/>
                  </a:solidFill>
                  <a:latin typeface="Segoe UI"/>
                </a:endParaRPr>
              </a:p>
            </p:txBody>
          </p:sp>
          <p:grpSp>
            <p:nvGrpSpPr>
              <p:cNvPr id="77" name="Group 76"/>
              <p:cNvGrpSpPr/>
              <p:nvPr/>
            </p:nvGrpSpPr>
            <p:grpSpPr>
              <a:xfrm>
                <a:off x="2199019" y="930806"/>
                <a:ext cx="2868737" cy="786370"/>
                <a:chOff x="2133600" y="914328"/>
                <a:chExt cx="2868737" cy="786370"/>
              </a:xfrm>
            </p:grpSpPr>
            <p:cxnSp>
              <p:nvCxnSpPr>
                <p:cNvPr id="84" name="Elbow Connector 83"/>
                <p:cNvCxnSpPr>
                  <a:stCxn id="103" idx="2"/>
                  <a:endCxn id="99" idx="2"/>
                </p:cNvCxnSpPr>
                <p:nvPr/>
              </p:nvCxnSpPr>
              <p:spPr>
                <a:xfrm rot="16200000" flipH="1">
                  <a:off x="2840323" y="1330525"/>
                  <a:ext cx="12700" cy="727646"/>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85" name="Elbow Connector 84"/>
                <p:cNvCxnSpPr>
                  <a:stCxn id="99" idx="2"/>
                  <a:endCxn id="95" idx="2"/>
                </p:cNvCxnSpPr>
                <p:nvPr/>
              </p:nvCxnSpPr>
              <p:spPr>
                <a:xfrm rot="16200000" flipH="1">
                  <a:off x="3567969" y="1330525"/>
                  <a:ext cx="12700" cy="727646"/>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86" name="Elbow Connector 85"/>
                <p:cNvCxnSpPr>
                  <a:stCxn id="95" idx="2"/>
                  <a:endCxn id="91" idx="2"/>
                </p:cNvCxnSpPr>
                <p:nvPr/>
              </p:nvCxnSpPr>
              <p:spPr>
                <a:xfrm rot="16200000" flipH="1">
                  <a:off x="4295614" y="1330525"/>
                  <a:ext cx="12700" cy="727645"/>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grpSp>
              <p:nvGrpSpPr>
                <p:cNvPr id="87" name="Group 86"/>
                <p:cNvGrpSpPr/>
                <p:nvPr/>
              </p:nvGrpSpPr>
              <p:grpSpPr>
                <a:xfrm>
                  <a:off x="2133600" y="914328"/>
                  <a:ext cx="685800" cy="780020"/>
                  <a:chOff x="2133600" y="914328"/>
                  <a:chExt cx="685800" cy="780020"/>
                </a:xfrm>
              </p:grpSpPr>
              <p:sp>
                <p:nvSpPr>
                  <p:cNvPr id="103" name="Rounded Rectangle 102"/>
                  <p:cNvSpPr/>
                  <p:nvPr/>
                </p:nvSpPr>
                <p:spPr>
                  <a:xfrm>
                    <a:off x="2133600"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04" name="Straight Connector 103"/>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05" name="TextBox 104"/>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106" name="TextBox 105"/>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nvGrpSpPr>
                <p:cNvPr id="88" name="Group 87"/>
                <p:cNvGrpSpPr/>
                <p:nvPr/>
              </p:nvGrpSpPr>
              <p:grpSpPr>
                <a:xfrm>
                  <a:off x="2861246" y="914328"/>
                  <a:ext cx="689434" cy="780020"/>
                  <a:chOff x="2129966" y="914328"/>
                  <a:chExt cx="689434" cy="780020"/>
                </a:xfrm>
              </p:grpSpPr>
              <p:sp>
                <p:nvSpPr>
                  <p:cNvPr id="99" name="Rounded Rectangle 98"/>
                  <p:cNvSpPr/>
                  <p:nvPr/>
                </p:nvSpPr>
                <p:spPr>
                  <a:xfrm>
                    <a:off x="2129966"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00" name="Straight Connector 99"/>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01" name="TextBox 100"/>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102" name="TextBox 101"/>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nvGrpSpPr>
                <p:cNvPr id="89" name="Group 88"/>
                <p:cNvGrpSpPr/>
                <p:nvPr/>
              </p:nvGrpSpPr>
              <p:grpSpPr>
                <a:xfrm>
                  <a:off x="3588091" y="914328"/>
                  <a:ext cx="686601" cy="780020"/>
                  <a:chOff x="2133600" y="916731"/>
                  <a:chExt cx="686601" cy="780020"/>
                </a:xfrm>
              </p:grpSpPr>
              <p:sp>
                <p:nvSpPr>
                  <p:cNvPr id="95" name="Rounded Rectangle 94"/>
                  <p:cNvSpPr/>
                  <p:nvPr/>
                </p:nvSpPr>
                <p:spPr>
                  <a:xfrm>
                    <a:off x="2134401" y="916731"/>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96" name="Straight Connector 95"/>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97" name="TextBox 96"/>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98" name="TextBox 97"/>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nvGrpSpPr>
                <p:cNvPr id="90" name="Group 89"/>
                <p:cNvGrpSpPr/>
                <p:nvPr/>
              </p:nvGrpSpPr>
              <p:grpSpPr>
                <a:xfrm>
                  <a:off x="4316537" y="914328"/>
                  <a:ext cx="685800" cy="780020"/>
                  <a:chOff x="2133600" y="912068"/>
                  <a:chExt cx="685800" cy="780020"/>
                </a:xfrm>
              </p:grpSpPr>
              <p:sp>
                <p:nvSpPr>
                  <p:cNvPr id="91" name="Rounded Rectangle 90"/>
                  <p:cNvSpPr/>
                  <p:nvPr/>
                </p:nvSpPr>
                <p:spPr>
                  <a:xfrm>
                    <a:off x="2133600" y="91206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92" name="Straight Connector 91"/>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93" name="TextBox 92"/>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94" name="TextBox 93"/>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grpSp>
            <p:nvGrpSpPr>
              <p:cNvPr id="78" name="Group 77"/>
              <p:cNvGrpSpPr/>
              <p:nvPr/>
            </p:nvGrpSpPr>
            <p:grpSpPr>
              <a:xfrm>
                <a:off x="2971954" y="2234386"/>
                <a:ext cx="1342421" cy="361879"/>
                <a:chOff x="2848579" y="2343149"/>
                <a:chExt cx="1342421" cy="361879"/>
              </a:xfrm>
            </p:grpSpPr>
            <p:sp>
              <p:nvSpPr>
                <p:cNvPr id="82" name="Rounded Rectangle 81"/>
                <p:cNvSpPr/>
                <p:nvPr/>
              </p:nvSpPr>
              <p:spPr>
                <a:xfrm>
                  <a:off x="2848579" y="2343149"/>
                  <a:ext cx="1342421" cy="361879"/>
                </a:xfrm>
                <a:prstGeom prst="roundRect">
                  <a:avLst/>
                </a:prstGeom>
                <a:solidFill>
                  <a:srgbClr val="002050">
                    <a:lumMod val="90000"/>
                    <a:lumOff val="1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sp>
              <p:nvSpPr>
                <p:cNvPr id="83" name="TextBox 82"/>
                <p:cNvSpPr txBox="1"/>
                <p:nvPr/>
              </p:nvSpPr>
              <p:spPr>
                <a:xfrm>
                  <a:off x="2891483" y="2393283"/>
                  <a:ext cx="1256611" cy="205722"/>
                </a:xfrm>
                <a:prstGeom prst="rect">
                  <a:avLst/>
                </a:prstGeom>
                <a:noFill/>
              </p:spPr>
              <p:txBody>
                <a:bodyPr wrap="square" rtlCol="0">
                  <a:spAutoFit/>
                </a:bodyPr>
                <a:lstStyle/>
                <a:p>
                  <a:pPr algn="ctr" defTabSz="448193">
                    <a:defRPr/>
                  </a:pPr>
                  <a:r>
                    <a:rPr lang="en-US" sz="1438" kern="0" dirty="0">
                      <a:solidFill>
                        <a:prstClr val="white"/>
                      </a:solidFill>
                      <a:effectLst>
                        <a:outerShdw blurRad="38100" dist="38100" dir="2700000" algn="tl">
                          <a:srgbClr val="000000">
                            <a:alpha val="43137"/>
                          </a:srgbClr>
                        </a:outerShdw>
                      </a:effectLst>
                    </a:rPr>
                    <a:t>Memory</a:t>
                  </a:r>
                </a:p>
              </p:txBody>
            </p:sp>
          </p:grpSp>
          <p:cxnSp>
            <p:nvCxnSpPr>
              <p:cNvPr id="79" name="Straight Connector 78"/>
              <p:cNvCxnSpPr>
                <a:stCxn id="82" idx="0"/>
              </p:cNvCxnSpPr>
              <p:nvPr/>
            </p:nvCxnSpPr>
            <p:spPr>
              <a:xfrm flipV="1">
                <a:off x="3643165" y="1942843"/>
                <a:ext cx="0" cy="291543"/>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80" name="Straight Connector 79"/>
              <p:cNvCxnSpPr>
                <a:stCxn id="82" idx="2"/>
              </p:cNvCxnSpPr>
              <p:nvPr/>
            </p:nvCxnSpPr>
            <p:spPr>
              <a:xfrm>
                <a:off x="3643165" y="2596265"/>
                <a:ext cx="0" cy="985229"/>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sp>
            <p:nvSpPr>
              <p:cNvPr id="81" name="TextBox 80"/>
              <p:cNvSpPr txBox="1"/>
              <p:nvPr/>
            </p:nvSpPr>
            <p:spPr>
              <a:xfrm>
                <a:off x="2199019" y="2434632"/>
                <a:ext cx="727646" cy="217717"/>
              </a:xfrm>
              <a:prstGeom prst="rect">
                <a:avLst/>
              </a:prstGeom>
              <a:noFill/>
            </p:spPr>
            <p:txBody>
              <a:bodyPr wrap="square" rtlCol="0">
                <a:spAutoFit/>
              </a:bodyPr>
              <a:lstStyle/>
              <a:p>
                <a:pPr defTabSz="448193">
                  <a:defRPr/>
                </a:pPr>
                <a:r>
                  <a:rPr lang="en-US" sz="1568" b="1" kern="0" dirty="0">
                    <a:solidFill>
                      <a:srgbClr val="000000"/>
                    </a:solidFill>
                  </a:rPr>
                  <a:t>Node 1</a:t>
                </a:r>
                <a:endParaRPr lang="en-US" sz="3659" b="1" kern="0" dirty="0">
                  <a:solidFill>
                    <a:srgbClr val="000000"/>
                  </a:solidFill>
                </a:endParaRPr>
              </a:p>
            </p:txBody>
          </p:sp>
        </p:grpSp>
        <p:cxnSp>
          <p:nvCxnSpPr>
            <p:cNvPr id="74" name="Straight Connector 73"/>
            <p:cNvCxnSpPr/>
            <p:nvPr/>
          </p:nvCxnSpPr>
          <p:spPr>
            <a:xfrm>
              <a:off x="2064398" y="3676741"/>
              <a:ext cx="6517332" cy="0"/>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sp>
          <p:nvSpPr>
            <p:cNvPr id="75" name="TextBox 74"/>
            <p:cNvSpPr txBox="1"/>
            <p:nvPr/>
          </p:nvSpPr>
          <p:spPr>
            <a:xfrm>
              <a:off x="4400558" y="3742551"/>
              <a:ext cx="1845011" cy="237510"/>
            </a:xfrm>
            <a:prstGeom prst="rect">
              <a:avLst/>
            </a:prstGeom>
            <a:noFill/>
          </p:spPr>
          <p:txBody>
            <a:bodyPr wrap="square" rtlCol="0">
              <a:spAutoFit/>
            </a:bodyPr>
            <a:lstStyle/>
            <a:p>
              <a:pPr algn="ctr" defTabSz="448193">
                <a:defRPr/>
              </a:pPr>
              <a:r>
                <a:rPr lang="en-US" sz="1765" b="1" kern="0" dirty="0">
                  <a:solidFill>
                    <a:srgbClr val="000000"/>
                  </a:solidFill>
                </a:rPr>
                <a:t>Interconnect</a:t>
              </a:r>
              <a:endParaRPr lang="en-US" sz="2745" b="1" kern="0" dirty="0">
                <a:solidFill>
                  <a:srgbClr val="000000"/>
                </a:solidFill>
              </a:endParaRPr>
            </a:p>
          </p:txBody>
        </p:sp>
      </p:grpSp>
    </p:spTree>
    <p:custDataLst>
      <p:tags r:id="rId1"/>
    </p:custDataLst>
    <p:extLst>
      <p:ext uri="{BB962C8B-B14F-4D97-AF65-F5344CB8AC3E}">
        <p14:creationId xmlns:p14="http://schemas.microsoft.com/office/powerpoint/2010/main" val="239312399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189033D4-A238-4C13-9474-186E15C93319}"/>
              </a:ext>
            </a:extLst>
          </p:cNvPr>
          <p:cNvGraphicFramePr/>
          <p:nvPr>
            <p:extLst>
              <p:ext uri="{D42A27DB-BD31-4B8C-83A1-F6EECF244321}">
                <p14:modId xmlns:p14="http://schemas.microsoft.com/office/powerpoint/2010/main" val="1798140295"/>
              </p:ext>
            </p:extLst>
          </p:nvPr>
        </p:nvGraphicFramePr>
        <p:xfrm>
          <a:off x="658368" y="1189495"/>
          <a:ext cx="10920453" cy="211596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itle 2"/>
          <p:cNvSpPr>
            <a:spLocks noGrp="1"/>
          </p:cNvSpPr>
          <p:nvPr>
            <p:ph type="title"/>
          </p:nvPr>
        </p:nvSpPr>
        <p:spPr/>
        <p:txBody>
          <a:bodyPr/>
          <a:lstStyle/>
          <a:p>
            <a:r>
              <a:rPr lang="pt-PT" dirty="0"/>
              <a:t>NUMA (Non-Uniform Memory Access) Architecture</a:t>
            </a:r>
            <a:endParaRPr lang="en-US" dirty="0"/>
          </a:p>
        </p:txBody>
      </p:sp>
      <p:grpSp>
        <p:nvGrpSpPr>
          <p:cNvPr id="26" name="Group 25"/>
          <p:cNvGrpSpPr/>
          <p:nvPr/>
        </p:nvGrpSpPr>
        <p:grpSpPr>
          <a:xfrm>
            <a:off x="2547652" y="3305459"/>
            <a:ext cx="7096696" cy="3696408"/>
            <a:chOff x="3822928" y="2554069"/>
            <a:chExt cx="7239000" cy="3770529"/>
          </a:xfrm>
        </p:grpSpPr>
        <p:sp>
          <p:nvSpPr>
            <p:cNvPr id="27" name="TextBox 26"/>
            <p:cNvSpPr txBox="1"/>
            <p:nvPr/>
          </p:nvSpPr>
          <p:spPr>
            <a:xfrm>
              <a:off x="7738783" y="5377934"/>
              <a:ext cx="3285045" cy="184666"/>
            </a:xfrm>
            <a:prstGeom prst="rect">
              <a:avLst/>
            </a:prstGeom>
            <a:noFill/>
          </p:spPr>
          <p:txBody>
            <a:bodyPr wrap="square" lIns="0" tIns="0" rIns="0" bIns="0" rtlCol="0">
              <a:spAutoFit/>
            </a:bodyPr>
            <a:lstStyle/>
            <a:p>
              <a:pPr defTabSz="448193">
                <a:defRPr/>
              </a:pPr>
              <a:r>
                <a:rPr lang="en-US" sz="1176" kern="0" dirty="0">
                  <a:solidFill>
                    <a:srgbClr val="000000"/>
                  </a:solidFill>
                  <a:latin typeface="Segoe UI Light" panose="020B0502040204020203" pitchFamily="34" charset="0"/>
                  <a:cs typeface="Segoe UI Light" panose="020B0502040204020203" pitchFamily="34" charset="0"/>
                </a:rPr>
                <a:t>‘n’ &gt;3 (typically) but varies with hardware design</a:t>
              </a:r>
            </a:p>
          </p:txBody>
        </p:sp>
        <p:grpSp>
          <p:nvGrpSpPr>
            <p:cNvPr id="28" name="Group 27"/>
            <p:cNvGrpSpPr/>
            <p:nvPr/>
          </p:nvGrpSpPr>
          <p:grpSpPr>
            <a:xfrm>
              <a:off x="3822928" y="2963594"/>
              <a:ext cx="7239000" cy="3361004"/>
              <a:chOff x="1371600" y="2126700"/>
              <a:chExt cx="6248400" cy="2826300"/>
            </a:xfrm>
          </p:grpSpPr>
          <p:sp>
            <p:nvSpPr>
              <p:cNvPr id="30" name="Rounded Rectangle 29"/>
              <p:cNvSpPr/>
              <p:nvPr/>
            </p:nvSpPr>
            <p:spPr>
              <a:xfrm>
                <a:off x="1447800" y="2362200"/>
                <a:ext cx="2667000" cy="1752600"/>
              </a:xfrm>
              <a:prstGeom prst="roundRect">
                <a:avLst/>
              </a:prstGeom>
              <a:solidFill>
                <a:srgbClr val="FFC000">
                  <a:alpha val="18000"/>
                </a:srgbClr>
              </a:solidFill>
              <a:ln w="9525" cap="flat" cmpd="sng" algn="ctr">
                <a:noFill/>
                <a:prstDash val="solid"/>
              </a:ln>
              <a:effectLst>
                <a:outerShdw blurRad="40000" dist="23000" dir="5400000" rotWithShape="0">
                  <a:srgbClr val="000000">
                    <a:alpha val="35000"/>
                  </a:srgbClr>
                </a:outerShdw>
              </a:effectLst>
            </p:spPr>
            <p:txBody>
              <a:bodyPr rtlCol="0" anchor="t"/>
              <a:lstStyle/>
              <a:p>
                <a:pPr defTabSz="448193">
                  <a:defRPr/>
                </a:pPr>
                <a:r>
                  <a:rPr lang="en-US" sz="1029" i="1" kern="0" dirty="0">
                    <a:solidFill>
                      <a:srgbClr val="000000"/>
                    </a:solidFill>
                    <a:latin typeface="Segoe UI Light" panose="020B0502040204020203" pitchFamily="34" charset="0"/>
                  </a:rPr>
                  <a:t>NUMA NODE 0</a:t>
                </a:r>
              </a:p>
            </p:txBody>
          </p:sp>
          <p:graphicFrame>
            <p:nvGraphicFramePr>
              <p:cNvPr id="31" name="Diagram 30"/>
              <p:cNvGraphicFramePr/>
              <p:nvPr/>
            </p:nvGraphicFramePr>
            <p:xfrm>
              <a:off x="1437373" y="2126700"/>
              <a:ext cx="2895601" cy="28194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32" name="Rounded Rectangle 31"/>
              <p:cNvSpPr/>
              <p:nvPr/>
            </p:nvSpPr>
            <p:spPr>
              <a:xfrm>
                <a:off x="4692596" y="2362200"/>
                <a:ext cx="2667000" cy="1752600"/>
              </a:xfrm>
              <a:prstGeom prst="roundRect">
                <a:avLst/>
              </a:prstGeom>
              <a:solidFill>
                <a:srgbClr val="FFC000">
                  <a:alpha val="18000"/>
                </a:srgbClr>
              </a:solidFill>
              <a:ln w="9525" cap="flat" cmpd="sng" algn="ctr">
                <a:noFill/>
                <a:prstDash val="solid"/>
              </a:ln>
              <a:effectLst>
                <a:outerShdw blurRad="40000" dist="23000" dir="5400000" rotWithShape="0">
                  <a:srgbClr val="000000">
                    <a:alpha val="35000"/>
                  </a:srgbClr>
                </a:outerShdw>
              </a:effectLst>
            </p:spPr>
            <p:txBody>
              <a:bodyPr rtlCol="0" anchor="t"/>
              <a:lstStyle/>
              <a:p>
                <a:pPr defTabSz="448193">
                  <a:defRPr/>
                </a:pPr>
                <a:r>
                  <a:rPr lang="en-US" sz="1029" i="1" kern="0" dirty="0">
                    <a:solidFill>
                      <a:srgbClr val="000000"/>
                    </a:solidFill>
                    <a:latin typeface="Segoe UI Light" panose="020B0502040204020203" pitchFamily="34" charset="0"/>
                  </a:rPr>
                  <a:t>NUMA NODE 1</a:t>
                </a:r>
              </a:p>
            </p:txBody>
          </p:sp>
          <p:sp>
            <p:nvSpPr>
              <p:cNvPr id="33" name="Left-Right Arrow 32"/>
              <p:cNvSpPr/>
              <p:nvPr/>
            </p:nvSpPr>
            <p:spPr>
              <a:xfrm>
                <a:off x="5486400" y="3276600"/>
                <a:ext cx="1066800" cy="152400"/>
              </a:xfrm>
              <a:prstGeom prst="leftRight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w="9525" cap="flat" cmpd="sng" algn="ctr">
                <a:solidFill>
                  <a:srgbClr val="0E715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sp>
            <p:nvSpPr>
              <p:cNvPr id="34" name="Left-Right Arrow 33"/>
              <p:cNvSpPr/>
              <p:nvPr/>
            </p:nvSpPr>
            <p:spPr>
              <a:xfrm>
                <a:off x="2209800" y="3276600"/>
                <a:ext cx="1066800" cy="152400"/>
              </a:xfrm>
              <a:prstGeom prst="leftRight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w="9525" cap="flat" cmpd="sng" algn="ctr">
                <a:solidFill>
                  <a:srgbClr val="0E715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sp>
            <p:nvSpPr>
              <p:cNvPr id="35" name="Text Box 28"/>
              <p:cNvSpPr txBox="1">
                <a:spLocks noChangeArrowheads="1"/>
              </p:cNvSpPr>
              <p:nvPr/>
            </p:nvSpPr>
            <p:spPr bwMode="auto">
              <a:xfrm>
                <a:off x="1371600" y="3607303"/>
                <a:ext cx="1052362" cy="319633"/>
              </a:xfrm>
              <a:prstGeom prst="rect">
                <a:avLst/>
              </a:prstGeom>
              <a:noFill/>
              <a:ln w="12700" algn="ctr">
                <a:noFill/>
                <a:miter lim="800000"/>
                <a:headEnd/>
                <a:tailEnd type="none" w="med" len="lg"/>
              </a:ln>
              <a:effectLst/>
            </p:spPr>
            <p:txBody>
              <a:bodyPr wrap="square">
                <a:spAutoFit/>
              </a:bodyPr>
              <a:lstStyle/>
              <a:p>
                <a:pPr algn="ctr" defTabSz="448193" eaLnBrk="0" hangingPunct="0">
                  <a:lnSpc>
                    <a:spcPct val="85000"/>
                  </a:lnSpc>
                  <a:defRPr/>
                </a:pPr>
                <a:r>
                  <a:rPr lang="en-US" sz="1078" b="1" kern="0" dirty="0">
                    <a:solidFill>
                      <a:srgbClr val="000000"/>
                    </a:solidFill>
                    <a:latin typeface="Segoe UI Light" panose="020B0502040204020203" pitchFamily="34" charset="0"/>
                    <a:cs typeface="Segoe UI Light" panose="020B0502040204020203" pitchFamily="34" charset="0"/>
                  </a:rPr>
                  <a:t>Local Memory Access</a:t>
                </a:r>
              </a:p>
            </p:txBody>
          </p:sp>
          <p:sp>
            <p:nvSpPr>
              <p:cNvPr id="36" name="Text Box 29"/>
              <p:cNvSpPr txBox="1">
                <a:spLocks noChangeArrowheads="1"/>
              </p:cNvSpPr>
              <p:nvPr/>
            </p:nvSpPr>
            <p:spPr bwMode="auto">
              <a:xfrm>
                <a:off x="3392555" y="3352086"/>
                <a:ext cx="1989595" cy="605620"/>
              </a:xfrm>
              <a:prstGeom prst="rect">
                <a:avLst/>
              </a:prstGeom>
              <a:noFill/>
              <a:ln w="12700" algn="ctr">
                <a:noFill/>
                <a:miter lim="800000"/>
                <a:headEnd/>
                <a:tailEnd type="none" w="med" len="lg"/>
              </a:ln>
              <a:effectLst/>
            </p:spPr>
            <p:txBody>
              <a:bodyPr>
                <a:spAutoFit/>
              </a:bodyPr>
              <a:lstStyle/>
              <a:p>
                <a:pPr algn="ctr" defTabSz="448193" eaLnBrk="0" hangingPunct="0">
                  <a:lnSpc>
                    <a:spcPct val="85000"/>
                  </a:lnSpc>
                  <a:defRPr/>
                </a:pPr>
                <a:r>
                  <a:rPr lang="en-US" sz="1176" b="1" kern="0" dirty="0">
                    <a:solidFill>
                      <a:srgbClr val="000000"/>
                    </a:solidFill>
                    <a:latin typeface="Segoe UI Light" panose="020B0502040204020203" pitchFamily="34" charset="0"/>
                    <a:cs typeface="Segoe UI Light" panose="020B0502040204020203" pitchFamily="34" charset="0"/>
                  </a:rPr>
                  <a:t>Foreign </a:t>
                </a:r>
              </a:p>
              <a:p>
                <a:pPr algn="ctr" defTabSz="448193" eaLnBrk="0" hangingPunct="0">
                  <a:lnSpc>
                    <a:spcPct val="85000"/>
                  </a:lnSpc>
                  <a:defRPr/>
                </a:pPr>
                <a:r>
                  <a:rPr lang="en-US" sz="1176" b="1" kern="0" dirty="0">
                    <a:solidFill>
                      <a:srgbClr val="000000"/>
                    </a:solidFill>
                    <a:latin typeface="Segoe UI Light" panose="020B0502040204020203" pitchFamily="34" charset="0"/>
                    <a:cs typeface="Segoe UI Light" panose="020B0502040204020203" pitchFamily="34" charset="0"/>
                  </a:rPr>
                  <a:t>Memory</a:t>
                </a:r>
              </a:p>
              <a:p>
                <a:pPr algn="ctr" defTabSz="448193" eaLnBrk="0" hangingPunct="0">
                  <a:lnSpc>
                    <a:spcPct val="85000"/>
                  </a:lnSpc>
                  <a:defRPr/>
                </a:pPr>
                <a:r>
                  <a:rPr lang="en-US" sz="1176" b="1" kern="0" dirty="0">
                    <a:solidFill>
                      <a:srgbClr val="000000"/>
                    </a:solidFill>
                    <a:latin typeface="Segoe UI Light" panose="020B0502040204020203" pitchFamily="34" charset="0"/>
                    <a:cs typeface="Segoe UI Light" panose="020B0502040204020203" pitchFamily="34" charset="0"/>
                  </a:rPr>
                  <a:t> Access </a:t>
                </a:r>
              </a:p>
              <a:p>
                <a:pPr algn="ctr" defTabSz="448193" eaLnBrk="0" hangingPunct="0">
                  <a:lnSpc>
                    <a:spcPct val="85000"/>
                  </a:lnSpc>
                  <a:defRPr/>
                </a:pPr>
                <a:r>
                  <a:rPr lang="en-US" sz="1176" b="1" kern="0" dirty="0">
                    <a:solidFill>
                      <a:srgbClr val="000000"/>
                    </a:solidFill>
                    <a:latin typeface="Segoe UI Light" panose="020B0502040204020203" pitchFamily="34" charset="0"/>
                    <a:cs typeface="Segoe UI Light" panose="020B0502040204020203" pitchFamily="34" charset="0"/>
                  </a:rPr>
                  <a:t>‘n’ x local</a:t>
                </a:r>
              </a:p>
            </p:txBody>
          </p:sp>
          <p:sp>
            <p:nvSpPr>
              <p:cNvPr id="37" name="Up-Down Arrow 36"/>
              <p:cNvSpPr/>
              <p:nvPr/>
            </p:nvSpPr>
            <p:spPr>
              <a:xfrm>
                <a:off x="1828800" y="3040049"/>
                <a:ext cx="152400" cy="228600"/>
              </a:xfrm>
              <a:prstGeom prst="upDown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w="9525" cap="flat" cmpd="sng" algn="ctr">
                <a:solidFill>
                  <a:srgbClr val="0E715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sp>
            <p:nvSpPr>
              <p:cNvPr id="38" name="Up-Down Arrow 37"/>
              <p:cNvSpPr/>
              <p:nvPr/>
            </p:nvSpPr>
            <p:spPr>
              <a:xfrm>
                <a:off x="3525743" y="3048000"/>
                <a:ext cx="152400" cy="228600"/>
              </a:xfrm>
              <a:prstGeom prst="upDown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sp>
            <p:nvSpPr>
              <p:cNvPr id="39" name="Left-Right Arrow 38"/>
              <p:cNvSpPr/>
              <p:nvPr/>
            </p:nvSpPr>
            <p:spPr>
              <a:xfrm>
                <a:off x="2209800" y="2819400"/>
                <a:ext cx="1066800" cy="152400"/>
              </a:xfrm>
              <a:prstGeom prst="leftRight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w="9525" cap="flat" cmpd="sng" algn="ctr">
                <a:solidFill>
                  <a:srgbClr val="0E715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graphicFrame>
            <p:nvGraphicFramePr>
              <p:cNvPr id="40" name="Diagram 39"/>
              <p:cNvGraphicFramePr/>
              <p:nvPr/>
            </p:nvGraphicFramePr>
            <p:xfrm>
              <a:off x="4724400" y="2133600"/>
              <a:ext cx="2895600" cy="2819400"/>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41" name="Up-Down Arrow 40"/>
              <p:cNvSpPr/>
              <p:nvPr/>
            </p:nvSpPr>
            <p:spPr>
              <a:xfrm>
                <a:off x="5113351" y="3040049"/>
                <a:ext cx="152400" cy="228600"/>
              </a:xfrm>
              <a:prstGeom prst="upDown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w="9525" cap="flat" cmpd="sng" algn="ctr">
                <a:solidFill>
                  <a:srgbClr val="0E715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sp>
            <p:nvSpPr>
              <p:cNvPr id="42" name="Up-Down Arrow 41"/>
              <p:cNvSpPr/>
              <p:nvPr/>
            </p:nvSpPr>
            <p:spPr>
              <a:xfrm>
                <a:off x="6810294" y="3048000"/>
                <a:ext cx="152400" cy="228600"/>
              </a:xfrm>
              <a:prstGeom prst="upDown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sp>
            <p:nvSpPr>
              <p:cNvPr id="43" name="Left-Right Arrow 42"/>
              <p:cNvSpPr/>
              <p:nvPr/>
            </p:nvSpPr>
            <p:spPr>
              <a:xfrm>
                <a:off x="5494351" y="2819400"/>
                <a:ext cx="1066800" cy="152400"/>
              </a:xfrm>
              <a:prstGeom prst="leftRight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w="9525" cap="flat" cmpd="sng" algn="ctr">
                <a:solidFill>
                  <a:srgbClr val="0E715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sp>
            <p:nvSpPr>
              <p:cNvPr id="44" name="Left-Right Arrow 43"/>
              <p:cNvSpPr/>
              <p:nvPr/>
            </p:nvSpPr>
            <p:spPr>
              <a:xfrm>
                <a:off x="4087023" y="3124200"/>
                <a:ext cx="625502" cy="228600"/>
              </a:xfrm>
              <a:prstGeom prst="leftRight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w="9525" cap="flat" cmpd="sng" algn="ctr">
                <a:solidFill>
                  <a:srgbClr val="0E715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grpSp>
        <p:sp>
          <p:nvSpPr>
            <p:cNvPr id="29" name="TextBox 28"/>
            <p:cNvSpPr txBox="1"/>
            <p:nvPr/>
          </p:nvSpPr>
          <p:spPr>
            <a:xfrm>
              <a:off x="5213120" y="2554069"/>
              <a:ext cx="4311880" cy="646331"/>
            </a:xfrm>
            <a:prstGeom prst="rect">
              <a:avLst/>
            </a:prstGeom>
            <a:noFill/>
          </p:spPr>
          <p:txBody>
            <a:bodyPr wrap="square" rtlCol="0">
              <a:spAutoFit/>
            </a:bodyPr>
            <a:lstStyle/>
            <a:p>
              <a:pPr algn="ctr" defTabSz="448193">
                <a:defRPr/>
              </a:pPr>
              <a:r>
                <a:rPr lang="en-US" sz="1765" b="1" kern="0" dirty="0">
                  <a:solidFill>
                    <a:srgbClr val="000000"/>
                  </a:solidFill>
                  <a:latin typeface="Segoe UI Light" panose="020B0502040204020203" pitchFamily="34" charset="0"/>
                  <a:cs typeface="Segoe UI Light" panose="020B0502040204020203" pitchFamily="34" charset="0"/>
                </a:rPr>
                <a:t>Non-Uniform Memory Access</a:t>
              </a:r>
            </a:p>
            <a:p>
              <a:pPr algn="ctr" defTabSz="448193">
                <a:defRPr/>
              </a:pPr>
              <a:r>
                <a:rPr lang="en-US" sz="1765" b="1" kern="0" dirty="0">
                  <a:solidFill>
                    <a:srgbClr val="000000"/>
                  </a:solidFill>
                  <a:latin typeface="Segoe UI Light" panose="020B0502040204020203" pitchFamily="34" charset="0"/>
                  <a:cs typeface="Segoe UI Light" panose="020B0502040204020203" pitchFamily="34" charset="0"/>
                </a:rPr>
                <a:t>(NUMA)</a:t>
              </a:r>
            </a:p>
          </p:txBody>
        </p:sp>
      </p:grpSp>
    </p:spTree>
    <p:custDataLst>
      <p:tags r:id="rId1"/>
    </p:custDataLst>
    <p:extLst>
      <p:ext uri="{BB962C8B-B14F-4D97-AF65-F5344CB8AC3E}">
        <p14:creationId xmlns:p14="http://schemas.microsoft.com/office/powerpoint/2010/main" val="6033086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a:solidFill>
            <a:schemeClr val="bg1"/>
          </a:solidFill>
          <a:ln>
            <a:noFill/>
          </a:ln>
        </p:spPr>
        <p:txBody>
          <a:bodyPr wrap="square" anchor="t">
            <a:normAutofit/>
          </a:bodyPr>
          <a:lstStyle/>
          <a:p>
            <a:r>
              <a:rPr lang="en-US" dirty="0"/>
              <a:t>Automatic Soft NUMA</a:t>
            </a:r>
          </a:p>
        </p:txBody>
      </p:sp>
      <p:graphicFrame>
        <p:nvGraphicFramePr>
          <p:cNvPr id="5" name="Text Placeholder 1">
            <a:extLst>
              <a:ext uri="{FF2B5EF4-FFF2-40B4-BE49-F238E27FC236}">
                <a16:creationId xmlns:a16="http://schemas.microsoft.com/office/drawing/2014/main" id="{2B8D15A4-A9CD-4E36-8BA2-3949D87EDA4A}"/>
              </a:ext>
            </a:extLst>
          </p:cNvPr>
          <p:cNvGraphicFramePr/>
          <p:nvPr>
            <p:extLst>
              <p:ext uri="{D42A27DB-BD31-4B8C-83A1-F6EECF244321}">
                <p14:modId xmlns:p14="http://schemas.microsoft.com/office/powerpoint/2010/main" val="506621969"/>
              </p:ext>
            </p:extLst>
          </p:nvPr>
        </p:nvGraphicFramePr>
        <p:xfrm>
          <a:off x="655638" y="914400"/>
          <a:ext cx="10880726" cy="533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5465997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a:solidFill>
            <a:schemeClr val="bg1"/>
          </a:solidFill>
          <a:ln>
            <a:noFill/>
          </a:ln>
        </p:spPr>
        <p:txBody>
          <a:bodyPr wrap="square" anchor="t">
            <a:normAutofit/>
          </a:bodyPr>
          <a:lstStyle/>
          <a:p>
            <a:r>
              <a:rPr lang="en-US" dirty="0"/>
              <a:t>Automatic Soft NUMA (SQL Server 2016)</a:t>
            </a:r>
          </a:p>
        </p:txBody>
      </p:sp>
      <p:graphicFrame>
        <p:nvGraphicFramePr>
          <p:cNvPr id="5" name="Text Placeholder 1">
            <a:extLst>
              <a:ext uri="{FF2B5EF4-FFF2-40B4-BE49-F238E27FC236}">
                <a16:creationId xmlns:a16="http://schemas.microsoft.com/office/drawing/2014/main" id="{24C141A8-B763-4536-9DBA-E7ADC8E4A627}"/>
              </a:ext>
            </a:extLst>
          </p:cNvPr>
          <p:cNvGraphicFramePr/>
          <p:nvPr>
            <p:extLst>
              <p:ext uri="{D42A27DB-BD31-4B8C-83A1-F6EECF244321}">
                <p14:modId xmlns:p14="http://schemas.microsoft.com/office/powerpoint/2010/main" val="854307114"/>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0134363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8368" y="250408"/>
            <a:ext cx="11655840" cy="461665"/>
          </a:xfrm>
        </p:spPr>
        <p:txBody>
          <a:bodyPr/>
          <a:lstStyle/>
          <a:p>
            <a:r>
              <a:rPr lang="en-US" dirty="0"/>
              <a:t>Automatic Soft NUMA (SQL Server 2016)</a:t>
            </a:r>
          </a:p>
        </p:txBody>
      </p:sp>
      <p:grpSp>
        <p:nvGrpSpPr>
          <p:cNvPr id="191" name="Group 190"/>
          <p:cNvGrpSpPr/>
          <p:nvPr/>
        </p:nvGrpSpPr>
        <p:grpSpPr>
          <a:xfrm>
            <a:off x="868016" y="2230087"/>
            <a:ext cx="10455968" cy="2397825"/>
            <a:chOff x="886605" y="1430616"/>
            <a:chExt cx="10665632" cy="2445906"/>
          </a:xfrm>
        </p:grpSpPr>
        <p:sp>
          <p:nvSpPr>
            <p:cNvPr id="4" name="Rectangle 3"/>
            <p:cNvSpPr/>
            <p:nvPr/>
          </p:nvSpPr>
          <p:spPr>
            <a:xfrm>
              <a:off x="913880" y="1430616"/>
              <a:ext cx="10638357" cy="2371446"/>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48193">
                <a:defRPr/>
              </a:pPr>
              <a:endParaRPr lang="en-US" sz="2353" kern="0" dirty="0">
                <a:solidFill>
                  <a:srgbClr val="000000"/>
                </a:solidFill>
                <a:latin typeface="Segoe UI"/>
              </a:endParaRPr>
            </a:p>
          </p:txBody>
        </p:sp>
        <p:sp>
          <p:nvSpPr>
            <p:cNvPr id="5" name="Rounded Rectangle 133"/>
            <p:cNvSpPr/>
            <p:nvPr/>
          </p:nvSpPr>
          <p:spPr>
            <a:xfrm>
              <a:off x="929196"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6" name="Straight Connector 5"/>
            <p:cNvCxnSpPr>
              <a:cxnSpLocks/>
            </p:cNvCxnSpPr>
            <p:nvPr/>
          </p:nvCxnSpPr>
          <p:spPr>
            <a:xfrm>
              <a:off x="924153"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7" name="TextBox 6"/>
            <p:cNvSpPr txBox="1"/>
            <p:nvPr/>
          </p:nvSpPr>
          <p:spPr>
            <a:xfrm>
              <a:off x="929196"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0</a:t>
              </a:r>
            </a:p>
          </p:txBody>
        </p:sp>
        <p:sp>
          <p:nvSpPr>
            <p:cNvPr id="8" name="TextBox 7"/>
            <p:cNvSpPr txBox="1"/>
            <p:nvPr/>
          </p:nvSpPr>
          <p:spPr>
            <a:xfrm>
              <a:off x="1035486"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9" name="Rounded Rectangle 133"/>
            <p:cNvSpPr/>
            <p:nvPr/>
          </p:nvSpPr>
          <p:spPr>
            <a:xfrm>
              <a:off x="2003299"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0" name="Straight Connector 9"/>
            <p:cNvCxnSpPr>
              <a:cxnSpLocks/>
            </p:cNvCxnSpPr>
            <p:nvPr/>
          </p:nvCxnSpPr>
          <p:spPr>
            <a:xfrm>
              <a:off x="1998255"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1" name="TextBox 10"/>
            <p:cNvSpPr txBox="1"/>
            <p:nvPr/>
          </p:nvSpPr>
          <p:spPr>
            <a:xfrm>
              <a:off x="2003299"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a:t>
              </a:r>
            </a:p>
          </p:txBody>
        </p:sp>
        <p:sp>
          <p:nvSpPr>
            <p:cNvPr id="12" name="TextBox 11"/>
            <p:cNvSpPr txBox="1"/>
            <p:nvPr/>
          </p:nvSpPr>
          <p:spPr>
            <a:xfrm>
              <a:off x="2109588"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13" name="Rounded Rectangle 133"/>
            <p:cNvSpPr/>
            <p:nvPr/>
          </p:nvSpPr>
          <p:spPr>
            <a:xfrm>
              <a:off x="3077401"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4" name="Straight Connector 13"/>
            <p:cNvCxnSpPr>
              <a:cxnSpLocks/>
            </p:cNvCxnSpPr>
            <p:nvPr/>
          </p:nvCxnSpPr>
          <p:spPr>
            <a:xfrm>
              <a:off x="3072358"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5" name="TextBox 14"/>
            <p:cNvSpPr txBox="1"/>
            <p:nvPr/>
          </p:nvSpPr>
          <p:spPr>
            <a:xfrm>
              <a:off x="3077401"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2</a:t>
              </a:r>
            </a:p>
          </p:txBody>
        </p:sp>
        <p:sp>
          <p:nvSpPr>
            <p:cNvPr id="16" name="TextBox 15"/>
            <p:cNvSpPr txBox="1"/>
            <p:nvPr/>
          </p:nvSpPr>
          <p:spPr>
            <a:xfrm>
              <a:off x="3183691"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17" name="Rounded Rectangle 133"/>
            <p:cNvSpPr/>
            <p:nvPr/>
          </p:nvSpPr>
          <p:spPr>
            <a:xfrm>
              <a:off x="4151503"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8" name="Straight Connector 17"/>
            <p:cNvCxnSpPr>
              <a:cxnSpLocks/>
            </p:cNvCxnSpPr>
            <p:nvPr/>
          </p:nvCxnSpPr>
          <p:spPr>
            <a:xfrm>
              <a:off x="4146460"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9" name="TextBox 18"/>
            <p:cNvSpPr txBox="1"/>
            <p:nvPr/>
          </p:nvSpPr>
          <p:spPr>
            <a:xfrm>
              <a:off x="4151503"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3</a:t>
              </a:r>
            </a:p>
          </p:txBody>
        </p:sp>
        <p:sp>
          <p:nvSpPr>
            <p:cNvPr id="20" name="TextBox 19"/>
            <p:cNvSpPr txBox="1"/>
            <p:nvPr/>
          </p:nvSpPr>
          <p:spPr>
            <a:xfrm>
              <a:off x="4257794"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1" name="Rounded Rectangle 133"/>
            <p:cNvSpPr/>
            <p:nvPr/>
          </p:nvSpPr>
          <p:spPr>
            <a:xfrm>
              <a:off x="5220807"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2" name="Straight Connector 21"/>
            <p:cNvCxnSpPr>
              <a:cxnSpLocks/>
            </p:cNvCxnSpPr>
            <p:nvPr/>
          </p:nvCxnSpPr>
          <p:spPr>
            <a:xfrm>
              <a:off x="5215764"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3" name="TextBox 22"/>
            <p:cNvSpPr txBox="1"/>
            <p:nvPr/>
          </p:nvSpPr>
          <p:spPr>
            <a:xfrm>
              <a:off x="5220807"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4</a:t>
              </a:r>
            </a:p>
          </p:txBody>
        </p:sp>
        <p:sp>
          <p:nvSpPr>
            <p:cNvPr id="24" name="TextBox 23"/>
            <p:cNvSpPr txBox="1"/>
            <p:nvPr/>
          </p:nvSpPr>
          <p:spPr>
            <a:xfrm>
              <a:off x="5327097"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5" name="Rounded Rectangle 133"/>
            <p:cNvSpPr/>
            <p:nvPr/>
          </p:nvSpPr>
          <p:spPr>
            <a:xfrm>
              <a:off x="6269698"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6" name="Straight Connector 25"/>
            <p:cNvCxnSpPr>
              <a:cxnSpLocks/>
            </p:cNvCxnSpPr>
            <p:nvPr/>
          </p:nvCxnSpPr>
          <p:spPr>
            <a:xfrm>
              <a:off x="6264655"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7" name="TextBox 26"/>
            <p:cNvSpPr txBox="1"/>
            <p:nvPr/>
          </p:nvSpPr>
          <p:spPr>
            <a:xfrm>
              <a:off x="6269698"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5</a:t>
              </a:r>
            </a:p>
          </p:txBody>
        </p:sp>
        <p:sp>
          <p:nvSpPr>
            <p:cNvPr id="28" name="TextBox 27"/>
            <p:cNvSpPr txBox="1"/>
            <p:nvPr/>
          </p:nvSpPr>
          <p:spPr>
            <a:xfrm>
              <a:off x="6375988"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9" name="Rounded Rectangle 133"/>
            <p:cNvSpPr/>
            <p:nvPr/>
          </p:nvSpPr>
          <p:spPr>
            <a:xfrm>
              <a:off x="7343801"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30" name="Straight Connector 29"/>
            <p:cNvCxnSpPr>
              <a:cxnSpLocks/>
            </p:cNvCxnSpPr>
            <p:nvPr/>
          </p:nvCxnSpPr>
          <p:spPr>
            <a:xfrm>
              <a:off x="7338757"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31" name="TextBox 30"/>
            <p:cNvSpPr txBox="1"/>
            <p:nvPr/>
          </p:nvSpPr>
          <p:spPr>
            <a:xfrm>
              <a:off x="7343801"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6</a:t>
              </a:r>
            </a:p>
          </p:txBody>
        </p:sp>
        <p:sp>
          <p:nvSpPr>
            <p:cNvPr id="32" name="TextBox 31"/>
            <p:cNvSpPr txBox="1"/>
            <p:nvPr/>
          </p:nvSpPr>
          <p:spPr>
            <a:xfrm>
              <a:off x="7450090"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33" name="Rounded Rectangle 133"/>
            <p:cNvSpPr/>
            <p:nvPr/>
          </p:nvSpPr>
          <p:spPr>
            <a:xfrm>
              <a:off x="8417903"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34" name="Straight Connector 33"/>
            <p:cNvCxnSpPr>
              <a:cxnSpLocks/>
            </p:cNvCxnSpPr>
            <p:nvPr/>
          </p:nvCxnSpPr>
          <p:spPr>
            <a:xfrm>
              <a:off x="8412860"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35" name="TextBox 34"/>
            <p:cNvSpPr txBox="1"/>
            <p:nvPr/>
          </p:nvSpPr>
          <p:spPr>
            <a:xfrm>
              <a:off x="8417903"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7</a:t>
              </a:r>
            </a:p>
          </p:txBody>
        </p:sp>
        <p:sp>
          <p:nvSpPr>
            <p:cNvPr id="36" name="TextBox 35"/>
            <p:cNvSpPr txBox="1"/>
            <p:nvPr/>
          </p:nvSpPr>
          <p:spPr>
            <a:xfrm>
              <a:off x="8524193"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37" name="Rounded Rectangle 133"/>
            <p:cNvSpPr/>
            <p:nvPr/>
          </p:nvSpPr>
          <p:spPr>
            <a:xfrm>
              <a:off x="9492005"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38" name="Straight Connector 37"/>
            <p:cNvCxnSpPr>
              <a:cxnSpLocks/>
            </p:cNvCxnSpPr>
            <p:nvPr/>
          </p:nvCxnSpPr>
          <p:spPr>
            <a:xfrm>
              <a:off x="9486962"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39" name="TextBox 38"/>
            <p:cNvSpPr txBox="1"/>
            <p:nvPr/>
          </p:nvSpPr>
          <p:spPr>
            <a:xfrm>
              <a:off x="9492005"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8</a:t>
              </a:r>
            </a:p>
          </p:txBody>
        </p:sp>
        <p:sp>
          <p:nvSpPr>
            <p:cNvPr id="40" name="TextBox 39"/>
            <p:cNvSpPr txBox="1"/>
            <p:nvPr/>
          </p:nvSpPr>
          <p:spPr>
            <a:xfrm>
              <a:off x="9598295"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41" name="Rounded Rectangle 133"/>
            <p:cNvSpPr/>
            <p:nvPr/>
          </p:nvSpPr>
          <p:spPr>
            <a:xfrm>
              <a:off x="10561309"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42" name="Straight Connector 41"/>
            <p:cNvCxnSpPr>
              <a:cxnSpLocks/>
            </p:cNvCxnSpPr>
            <p:nvPr/>
          </p:nvCxnSpPr>
          <p:spPr>
            <a:xfrm>
              <a:off x="10556266"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43" name="TextBox 42"/>
            <p:cNvSpPr txBox="1"/>
            <p:nvPr/>
          </p:nvSpPr>
          <p:spPr>
            <a:xfrm>
              <a:off x="10561309"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9</a:t>
              </a:r>
            </a:p>
          </p:txBody>
        </p:sp>
        <p:sp>
          <p:nvSpPr>
            <p:cNvPr id="44" name="TextBox 43"/>
            <p:cNvSpPr txBox="1"/>
            <p:nvPr/>
          </p:nvSpPr>
          <p:spPr>
            <a:xfrm>
              <a:off x="10667599"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45" name="Rounded Rectangle 133"/>
            <p:cNvSpPr/>
            <p:nvPr/>
          </p:nvSpPr>
          <p:spPr>
            <a:xfrm>
              <a:off x="929196"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46" name="Straight Connector 45"/>
            <p:cNvCxnSpPr>
              <a:cxnSpLocks/>
            </p:cNvCxnSpPr>
            <p:nvPr/>
          </p:nvCxnSpPr>
          <p:spPr>
            <a:xfrm>
              <a:off x="924153"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47" name="TextBox 46"/>
            <p:cNvSpPr txBox="1"/>
            <p:nvPr/>
          </p:nvSpPr>
          <p:spPr>
            <a:xfrm>
              <a:off x="886605" y="2727938"/>
              <a:ext cx="1022274"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0</a:t>
              </a:r>
            </a:p>
          </p:txBody>
        </p:sp>
        <p:sp>
          <p:nvSpPr>
            <p:cNvPr id="48" name="TextBox 47"/>
            <p:cNvSpPr txBox="1"/>
            <p:nvPr/>
          </p:nvSpPr>
          <p:spPr>
            <a:xfrm>
              <a:off x="1035486"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49" name="Rounded Rectangle 133"/>
            <p:cNvSpPr/>
            <p:nvPr/>
          </p:nvSpPr>
          <p:spPr>
            <a:xfrm>
              <a:off x="2003299"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50" name="Straight Connector 49"/>
            <p:cNvCxnSpPr>
              <a:cxnSpLocks/>
            </p:cNvCxnSpPr>
            <p:nvPr/>
          </p:nvCxnSpPr>
          <p:spPr>
            <a:xfrm>
              <a:off x="1998255"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51" name="TextBox 50"/>
            <p:cNvSpPr txBox="1"/>
            <p:nvPr/>
          </p:nvSpPr>
          <p:spPr>
            <a:xfrm>
              <a:off x="1965379" y="2727938"/>
              <a:ext cx="1017627"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1</a:t>
              </a:r>
            </a:p>
          </p:txBody>
        </p:sp>
        <p:sp>
          <p:nvSpPr>
            <p:cNvPr id="52" name="TextBox 51"/>
            <p:cNvSpPr txBox="1"/>
            <p:nvPr/>
          </p:nvSpPr>
          <p:spPr>
            <a:xfrm>
              <a:off x="2109588"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53" name="Rounded Rectangle 133"/>
            <p:cNvSpPr/>
            <p:nvPr/>
          </p:nvSpPr>
          <p:spPr>
            <a:xfrm>
              <a:off x="3077401"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54" name="Straight Connector 53"/>
            <p:cNvCxnSpPr>
              <a:cxnSpLocks/>
            </p:cNvCxnSpPr>
            <p:nvPr/>
          </p:nvCxnSpPr>
          <p:spPr>
            <a:xfrm>
              <a:off x="3072358"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55" name="TextBox 54"/>
            <p:cNvSpPr txBox="1"/>
            <p:nvPr/>
          </p:nvSpPr>
          <p:spPr>
            <a:xfrm>
              <a:off x="3058207" y="2727938"/>
              <a:ext cx="987350"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2</a:t>
              </a:r>
            </a:p>
          </p:txBody>
        </p:sp>
        <p:sp>
          <p:nvSpPr>
            <p:cNvPr id="56" name="TextBox 55"/>
            <p:cNvSpPr txBox="1"/>
            <p:nvPr/>
          </p:nvSpPr>
          <p:spPr>
            <a:xfrm>
              <a:off x="3183691"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57" name="Rounded Rectangle 133"/>
            <p:cNvSpPr/>
            <p:nvPr/>
          </p:nvSpPr>
          <p:spPr>
            <a:xfrm>
              <a:off x="4151503"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58" name="Straight Connector 57"/>
            <p:cNvCxnSpPr>
              <a:cxnSpLocks/>
            </p:cNvCxnSpPr>
            <p:nvPr/>
          </p:nvCxnSpPr>
          <p:spPr>
            <a:xfrm>
              <a:off x="4146460"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59" name="TextBox 58"/>
            <p:cNvSpPr txBox="1"/>
            <p:nvPr/>
          </p:nvSpPr>
          <p:spPr>
            <a:xfrm>
              <a:off x="4140895" y="2727938"/>
              <a:ext cx="972984"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3</a:t>
              </a:r>
            </a:p>
          </p:txBody>
        </p:sp>
        <p:sp>
          <p:nvSpPr>
            <p:cNvPr id="60" name="TextBox 59"/>
            <p:cNvSpPr txBox="1"/>
            <p:nvPr/>
          </p:nvSpPr>
          <p:spPr>
            <a:xfrm>
              <a:off x="4257794"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61" name="Rounded Rectangle 133"/>
            <p:cNvSpPr/>
            <p:nvPr/>
          </p:nvSpPr>
          <p:spPr>
            <a:xfrm>
              <a:off x="5220807"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62" name="Straight Connector 61"/>
            <p:cNvCxnSpPr>
              <a:cxnSpLocks/>
            </p:cNvCxnSpPr>
            <p:nvPr/>
          </p:nvCxnSpPr>
          <p:spPr>
            <a:xfrm>
              <a:off x="5215764"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63" name="TextBox 62"/>
            <p:cNvSpPr txBox="1"/>
            <p:nvPr/>
          </p:nvSpPr>
          <p:spPr>
            <a:xfrm>
              <a:off x="5206358" y="2727938"/>
              <a:ext cx="976804"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4</a:t>
              </a:r>
            </a:p>
          </p:txBody>
        </p:sp>
        <p:sp>
          <p:nvSpPr>
            <p:cNvPr id="64" name="TextBox 63"/>
            <p:cNvSpPr txBox="1"/>
            <p:nvPr/>
          </p:nvSpPr>
          <p:spPr>
            <a:xfrm>
              <a:off x="5327097"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65" name="Rounded Rectangle 133"/>
            <p:cNvSpPr/>
            <p:nvPr/>
          </p:nvSpPr>
          <p:spPr>
            <a:xfrm>
              <a:off x="6269698"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66" name="Straight Connector 65"/>
            <p:cNvCxnSpPr>
              <a:cxnSpLocks/>
            </p:cNvCxnSpPr>
            <p:nvPr/>
          </p:nvCxnSpPr>
          <p:spPr>
            <a:xfrm>
              <a:off x="6264655"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67" name="TextBox 66"/>
            <p:cNvSpPr txBox="1"/>
            <p:nvPr/>
          </p:nvSpPr>
          <p:spPr>
            <a:xfrm>
              <a:off x="6239352" y="2727938"/>
              <a:ext cx="1004268"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5</a:t>
              </a:r>
            </a:p>
          </p:txBody>
        </p:sp>
        <p:sp>
          <p:nvSpPr>
            <p:cNvPr id="68" name="TextBox 67"/>
            <p:cNvSpPr txBox="1"/>
            <p:nvPr/>
          </p:nvSpPr>
          <p:spPr>
            <a:xfrm>
              <a:off x="6375988"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69" name="Rounded Rectangle 133"/>
            <p:cNvSpPr/>
            <p:nvPr/>
          </p:nvSpPr>
          <p:spPr>
            <a:xfrm>
              <a:off x="7343801"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70" name="Straight Connector 69"/>
            <p:cNvCxnSpPr>
              <a:cxnSpLocks/>
            </p:cNvCxnSpPr>
            <p:nvPr/>
          </p:nvCxnSpPr>
          <p:spPr>
            <a:xfrm>
              <a:off x="7338757"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71" name="TextBox 70"/>
            <p:cNvSpPr txBox="1"/>
            <p:nvPr/>
          </p:nvSpPr>
          <p:spPr>
            <a:xfrm>
              <a:off x="7310005" y="2727938"/>
              <a:ext cx="1001875"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6</a:t>
              </a:r>
            </a:p>
          </p:txBody>
        </p:sp>
        <p:sp>
          <p:nvSpPr>
            <p:cNvPr id="72" name="TextBox 71"/>
            <p:cNvSpPr txBox="1"/>
            <p:nvPr/>
          </p:nvSpPr>
          <p:spPr>
            <a:xfrm>
              <a:off x="7450090"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73" name="Rounded Rectangle 133"/>
            <p:cNvSpPr/>
            <p:nvPr/>
          </p:nvSpPr>
          <p:spPr>
            <a:xfrm>
              <a:off x="8417903"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74" name="Straight Connector 73"/>
            <p:cNvCxnSpPr>
              <a:cxnSpLocks/>
            </p:cNvCxnSpPr>
            <p:nvPr/>
          </p:nvCxnSpPr>
          <p:spPr>
            <a:xfrm>
              <a:off x="8412860"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75" name="TextBox 74"/>
            <p:cNvSpPr txBox="1"/>
            <p:nvPr/>
          </p:nvSpPr>
          <p:spPr>
            <a:xfrm>
              <a:off x="8407335" y="2727938"/>
              <a:ext cx="972944"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7</a:t>
              </a:r>
            </a:p>
          </p:txBody>
        </p:sp>
        <p:sp>
          <p:nvSpPr>
            <p:cNvPr id="76" name="TextBox 75"/>
            <p:cNvSpPr txBox="1"/>
            <p:nvPr/>
          </p:nvSpPr>
          <p:spPr>
            <a:xfrm>
              <a:off x="8524193"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77" name="Rounded Rectangle 133"/>
            <p:cNvSpPr/>
            <p:nvPr/>
          </p:nvSpPr>
          <p:spPr>
            <a:xfrm>
              <a:off x="9492005"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78" name="Straight Connector 77"/>
            <p:cNvCxnSpPr>
              <a:cxnSpLocks/>
            </p:cNvCxnSpPr>
            <p:nvPr/>
          </p:nvCxnSpPr>
          <p:spPr>
            <a:xfrm>
              <a:off x="9486962"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79" name="TextBox 78"/>
            <p:cNvSpPr txBox="1"/>
            <p:nvPr/>
          </p:nvSpPr>
          <p:spPr>
            <a:xfrm>
              <a:off x="9452385" y="2727938"/>
              <a:ext cx="1007670"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8</a:t>
              </a:r>
            </a:p>
          </p:txBody>
        </p:sp>
        <p:sp>
          <p:nvSpPr>
            <p:cNvPr id="80" name="TextBox 79"/>
            <p:cNvSpPr txBox="1"/>
            <p:nvPr/>
          </p:nvSpPr>
          <p:spPr>
            <a:xfrm>
              <a:off x="9598295"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81" name="Rounded Rectangle 133"/>
            <p:cNvSpPr/>
            <p:nvPr/>
          </p:nvSpPr>
          <p:spPr>
            <a:xfrm>
              <a:off x="10561309"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82" name="Straight Connector 81"/>
            <p:cNvCxnSpPr>
              <a:cxnSpLocks/>
            </p:cNvCxnSpPr>
            <p:nvPr/>
          </p:nvCxnSpPr>
          <p:spPr>
            <a:xfrm>
              <a:off x="10556266"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83" name="TextBox 82"/>
            <p:cNvSpPr txBox="1"/>
            <p:nvPr/>
          </p:nvSpPr>
          <p:spPr>
            <a:xfrm>
              <a:off x="10514902" y="2727938"/>
              <a:ext cx="1031894"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9</a:t>
              </a:r>
            </a:p>
          </p:txBody>
        </p:sp>
        <p:sp>
          <p:nvSpPr>
            <p:cNvPr id="84" name="TextBox 83"/>
            <p:cNvSpPr txBox="1"/>
            <p:nvPr/>
          </p:nvSpPr>
          <p:spPr>
            <a:xfrm>
              <a:off x="10667599"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85" name="TextBox 84"/>
            <p:cNvSpPr txBox="1"/>
            <p:nvPr/>
          </p:nvSpPr>
          <p:spPr>
            <a:xfrm>
              <a:off x="899883" y="3537968"/>
              <a:ext cx="1727312" cy="338554"/>
            </a:xfrm>
            <a:prstGeom prst="rect">
              <a:avLst/>
            </a:prstGeom>
            <a:noFill/>
          </p:spPr>
          <p:txBody>
            <a:bodyPr wrap="square" rtlCol="0">
              <a:spAutoFit/>
            </a:bodyPr>
            <a:lstStyle/>
            <a:p>
              <a:pPr defTabSz="448193">
                <a:defRPr/>
              </a:pPr>
              <a:r>
                <a:rPr lang="en-US" sz="1568" b="1" kern="0" dirty="0">
                  <a:solidFill>
                    <a:srgbClr val="000000"/>
                  </a:solidFill>
                </a:rPr>
                <a:t>NUMA Node 0</a:t>
              </a:r>
              <a:endParaRPr lang="en-US" sz="3659" b="1" kern="0" dirty="0">
                <a:solidFill>
                  <a:srgbClr val="000000"/>
                </a:solidFill>
              </a:endParaRPr>
            </a:p>
          </p:txBody>
        </p:sp>
      </p:grpSp>
      <p:cxnSp>
        <p:nvCxnSpPr>
          <p:cNvPr id="207" name="Straight Connector 206"/>
          <p:cNvCxnSpPr>
            <a:cxnSpLocks/>
          </p:cNvCxnSpPr>
          <p:nvPr/>
        </p:nvCxnSpPr>
        <p:spPr>
          <a:xfrm rot="360000">
            <a:off x="6082985" y="4322833"/>
            <a:ext cx="40386" cy="373510"/>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208" name="Straight Connector 207"/>
          <p:cNvCxnSpPr>
            <a:cxnSpLocks/>
          </p:cNvCxnSpPr>
          <p:nvPr/>
        </p:nvCxnSpPr>
        <p:spPr>
          <a:xfrm>
            <a:off x="466622" y="4696343"/>
            <a:ext cx="11318856" cy="0"/>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sp>
        <p:nvSpPr>
          <p:cNvPr id="192" name="Text Placeholder 3">
            <a:extLst>
              <a:ext uri="{FF2B5EF4-FFF2-40B4-BE49-F238E27FC236}">
                <a16:creationId xmlns:a16="http://schemas.microsoft.com/office/drawing/2014/main" id="{D30975BC-1E21-4F9D-A69E-B2EF83E16986}"/>
              </a:ext>
            </a:extLst>
          </p:cNvPr>
          <p:cNvSpPr txBox="1">
            <a:spLocks/>
          </p:cNvSpPr>
          <p:nvPr>
            <p:custDataLst>
              <p:custData r:id="rId2"/>
            </p:custDataLst>
          </p:nvPr>
        </p:nvSpPr>
        <p:spPr>
          <a:xfrm>
            <a:off x="510255" y="1625748"/>
            <a:ext cx="10880725" cy="461665"/>
          </a:xfrm>
          <a:prstGeom prst="rect">
            <a:avLst/>
          </a:prstGeom>
        </p:spPr>
        <p:txBody>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With no soft-NUMA</a:t>
            </a:r>
          </a:p>
        </p:txBody>
      </p:sp>
      <p:sp>
        <p:nvSpPr>
          <p:cNvPr id="193" name="Rectangle 192">
            <a:extLst>
              <a:ext uri="{FF2B5EF4-FFF2-40B4-BE49-F238E27FC236}">
                <a16:creationId xmlns:a16="http://schemas.microsoft.com/office/drawing/2014/main" id="{26D363A9-8C0D-48BA-959F-21796E0BF304}"/>
              </a:ext>
            </a:extLst>
          </p:cNvPr>
          <p:cNvSpPr/>
          <p:nvPr/>
        </p:nvSpPr>
        <p:spPr>
          <a:xfrm>
            <a:off x="6318581" y="3808143"/>
            <a:ext cx="5417394" cy="1364464"/>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48193">
              <a:defRPr/>
            </a:pPr>
            <a:endParaRPr lang="en-US" sz="2353" kern="0" dirty="0">
              <a:solidFill>
                <a:srgbClr val="000000"/>
              </a:solidFill>
              <a:latin typeface="Segoe UI"/>
            </a:endParaRPr>
          </a:p>
        </p:txBody>
      </p:sp>
      <p:sp>
        <p:nvSpPr>
          <p:cNvPr id="194" name="Rectangle 193">
            <a:extLst>
              <a:ext uri="{FF2B5EF4-FFF2-40B4-BE49-F238E27FC236}">
                <a16:creationId xmlns:a16="http://schemas.microsoft.com/office/drawing/2014/main" id="{9A16CED8-7CDA-4E08-B8BF-3BB6DE2D915B}"/>
              </a:ext>
            </a:extLst>
          </p:cNvPr>
          <p:cNvSpPr/>
          <p:nvPr/>
        </p:nvSpPr>
        <p:spPr>
          <a:xfrm>
            <a:off x="505172" y="3808143"/>
            <a:ext cx="5417394" cy="1364464"/>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48193">
              <a:defRPr/>
            </a:pPr>
            <a:endParaRPr lang="en-US" sz="2353" kern="0" dirty="0">
              <a:solidFill>
                <a:srgbClr val="000000"/>
              </a:solidFill>
              <a:latin typeface="Segoe UI"/>
            </a:endParaRPr>
          </a:p>
        </p:txBody>
      </p:sp>
      <p:sp>
        <p:nvSpPr>
          <p:cNvPr id="195" name="Rectangle 194">
            <a:extLst>
              <a:ext uri="{FF2B5EF4-FFF2-40B4-BE49-F238E27FC236}">
                <a16:creationId xmlns:a16="http://schemas.microsoft.com/office/drawing/2014/main" id="{2398C8D6-46E8-4B46-BCCB-C248A8FDFCA3}"/>
              </a:ext>
            </a:extLst>
          </p:cNvPr>
          <p:cNvSpPr/>
          <p:nvPr/>
        </p:nvSpPr>
        <p:spPr>
          <a:xfrm>
            <a:off x="6318581" y="2294275"/>
            <a:ext cx="5417394" cy="1364464"/>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48193">
              <a:defRPr/>
            </a:pPr>
            <a:endParaRPr lang="en-US" sz="2353" kern="0" dirty="0">
              <a:solidFill>
                <a:srgbClr val="000000"/>
              </a:solidFill>
              <a:latin typeface="Segoe UI"/>
            </a:endParaRPr>
          </a:p>
        </p:txBody>
      </p:sp>
      <p:sp>
        <p:nvSpPr>
          <p:cNvPr id="196" name="Rectangle 195">
            <a:extLst>
              <a:ext uri="{FF2B5EF4-FFF2-40B4-BE49-F238E27FC236}">
                <a16:creationId xmlns:a16="http://schemas.microsoft.com/office/drawing/2014/main" id="{AA90098F-9F70-415C-80C9-3DB7FAE5E8D3}"/>
              </a:ext>
            </a:extLst>
          </p:cNvPr>
          <p:cNvSpPr/>
          <p:nvPr/>
        </p:nvSpPr>
        <p:spPr>
          <a:xfrm>
            <a:off x="505172" y="2294275"/>
            <a:ext cx="5417394" cy="1364464"/>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48193">
              <a:defRPr/>
            </a:pPr>
            <a:endParaRPr lang="en-US" sz="2353" kern="0" dirty="0">
              <a:solidFill>
                <a:srgbClr val="000000"/>
              </a:solidFill>
              <a:latin typeface="Segoe UI"/>
            </a:endParaRPr>
          </a:p>
        </p:txBody>
      </p:sp>
      <p:sp>
        <p:nvSpPr>
          <p:cNvPr id="197" name="Rounded Rectangle 133">
            <a:extLst>
              <a:ext uri="{FF2B5EF4-FFF2-40B4-BE49-F238E27FC236}">
                <a16:creationId xmlns:a16="http://schemas.microsoft.com/office/drawing/2014/main" id="{5BD80724-7759-4FF2-99F6-B1DC41DE6881}"/>
              </a:ext>
            </a:extLst>
          </p:cNvPr>
          <p:cNvSpPr/>
          <p:nvPr/>
        </p:nvSpPr>
        <p:spPr>
          <a:xfrm>
            <a:off x="623662" y="240061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98" name="Straight Connector 197">
            <a:extLst>
              <a:ext uri="{FF2B5EF4-FFF2-40B4-BE49-F238E27FC236}">
                <a16:creationId xmlns:a16="http://schemas.microsoft.com/office/drawing/2014/main" id="{0C23D2A6-DA9F-4FB7-BC03-0C7E08884117}"/>
              </a:ext>
            </a:extLst>
          </p:cNvPr>
          <p:cNvCxnSpPr>
            <a:cxnSpLocks/>
          </p:cNvCxnSpPr>
          <p:nvPr/>
        </p:nvCxnSpPr>
        <p:spPr>
          <a:xfrm>
            <a:off x="618718" y="301234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99" name="TextBox 198">
            <a:extLst>
              <a:ext uri="{FF2B5EF4-FFF2-40B4-BE49-F238E27FC236}">
                <a16:creationId xmlns:a16="http://schemas.microsoft.com/office/drawing/2014/main" id="{502FFD37-ED0E-4944-BA43-E67FEEA022E2}"/>
              </a:ext>
            </a:extLst>
          </p:cNvPr>
          <p:cNvSpPr txBox="1"/>
          <p:nvPr/>
        </p:nvSpPr>
        <p:spPr>
          <a:xfrm>
            <a:off x="623662" y="2581928"/>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0</a:t>
            </a:r>
          </a:p>
        </p:txBody>
      </p:sp>
      <p:sp>
        <p:nvSpPr>
          <p:cNvPr id="200" name="TextBox 199">
            <a:extLst>
              <a:ext uri="{FF2B5EF4-FFF2-40B4-BE49-F238E27FC236}">
                <a16:creationId xmlns:a16="http://schemas.microsoft.com/office/drawing/2014/main" id="{FBA03838-F61D-45D6-ACE9-946F779A659C}"/>
              </a:ext>
            </a:extLst>
          </p:cNvPr>
          <p:cNvSpPr txBox="1"/>
          <p:nvPr/>
        </p:nvSpPr>
        <p:spPr>
          <a:xfrm>
            <a:off x="727863" y="303547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01" name="Rounded Rectangle 133">
            <a:extLst>
              <a:ext uri="{FF2B5EF4-FFF2-40B4-BE49-F238E27FC236}">
                <a16:creationId xmlns:a16="http://schemas.microsoft.com/office/drawing/2014/main" id="{0A07DE42-1635-4765-AAFD-7C932985AB19}"/>
              </a:ext>
            </a:extLst>
          </p:cNvPr>
          <p:cNvSpPr/>
          <p:nvPr/>
        </p:nvSpPr>
        <p:spPr>
          <a:xfrm>
            <a:off x="1676650" y="240061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02" name="Straight Connector 201">
            <a:extLst>
              <a:ext uri="{FF2B5EF4-FFF2-40B4-BE49-F238E27FC236}">
                <a16:creationId xmlns:a16="http://schemas.microsoft.com/office/drawing/2014/main" id="{28DAFF86-7C28-4D65-B926-6C1A56BF6D73}"/>
              </a:ext>
            </a:extLst>
          </p:cNvPr>
          <p:cNvCxnSpPr>
            <a:cxnSpLocks/>
          </p:cNvCxnSpPr>
          <p:nvPr/>
        </p:nvCxnSpPr>
        <p:spPr>
          <a:xfrm>
            <a:off x="1671706" y="301234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03" name="TextBox 202">
            <a:extLst>
              <a:ext uri="{FF2B5EF4-FFF2-40B4-BE49-F238E27FC236}">
                <a16:creationId xmlns:a16="http://schemas.microsoft.com/office/drawing/2014/main" id="{94CEE80C-04B1-4E15-9C83-4FACEE731E4E}"/>
              </a:ext>
            </a:extLst>
          </p:cNvPr>
          <p:cNvSpPr txBox="1"/>
          <p:nvPr/>
        </p:nvSpPr>
        <p:spPr>
          <a:xfrm>
            <a:off x="1676650" y="2581928"/>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a:t>
            </a:r>
          </a:p>
        </p:txBody>
      </p:sp>
      <p:sp>
        <p:nvSpPr>
          <p:cNvPr id="204" name="TextBox 203">
            <a:extLst>
              <a:ext uri="{FF2B5EF4-FFF2-40B4-BE49-F238E27FC236}">
                <a16:creationId xmlns:a16="http://schemas.microsoft.com/office/drawing/2014/main" id="{AE11EE50-0DF1-426B-845C-99DF9E215FE0}"/>
              </a:ext>
            </a:extLst>
          </p:cNvPr>
          <p:cNvSpPr txBox="1"/>
          <p:nvPr/>
        </p:nvSpPr>
        <p:spPr>
          <a:xfrm>
            <a:off x="1780850" y="303547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05" name="Rounded Rectangle 133">
            <a:extLst>
              <a:ext uri="{FF2B5EF4-FFF2-40B4-BE49-F238E27FC236}">
                <a16:creationId xmlns:a16="http://schemas.microsoft.com/office/drawing/2014/main" id="{E3A5C743-FE3C-419F-B9D7-40B73FBA20DA}"/>
              </a:ext>
            </a:extLst>
          </p:cNvPr>
          <p:cNvSpPr/>
          <p:nvPr/>
        </p:nvSpPr>
        <p:spPr>
          <a:xfrm>
            <a:off x="2729638" y="240061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06" name="Straight Connector 205">
            <a:extLst>
              <a:ext uri="{FF2B5EF4-FFF2-40B4-BE49-F238E27FC236}">
                <a16:creationId xmlns:a16="http://schemas.microsoft.com/office/drawing/2014/main" id="{93A401ED-C782-4371-A34D-A0817A4AA23B}"/>
              </a:ext>
            </a:extLst>
          </p:cNvPr>
          <p:cNvCxnSpPr>
            <a:cxnSpLocks/>
          </p:cNvCxnSpPr>
          <p:nvPr/>
        </p:nvCxnSpPr>
        <p:spPr>
          <a:xfrm>
            <a:off x="2724694" y="301234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13" name="TextBox 212">
            <a:extLst>
              <a:ext uri="{FF2B5EF4-FFF2-40B4-BE49-F238E27FC236}">
                <a16:creationId xmlns:a16="http://schemas.microsoft.com/office/drawing/2014/main" id="{87A33EC8-96AB-4F14-BFC3-6167D2B849B9}"/>
              </a:ext>
            </a:extLst>
          </p:cNvPr>
          <p:cNvSpPr txBox="1"/>
          <p:nvPr/>
        </p:nvSpPr>
        <p:spPr>
          <a:xfrm>
            <a:off x="2729638" y="2581928"/>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2</a:t>
            </a:r>
          </a:p>
        </p:txBody>
      </p:sp>
      <p:sp>
        <p:nvSpPr>
          <p:cNvPr id="214" name="TextBox 213">
            <a:extLst>
              <a:ext uri="{FF2B5EF4-FFF2-40B4-BE49-F238E27FC236}">
                <a16:creationId xmlns:a16="http://schemas.microsoft.com/office/drawing/2014/main" id="{470E5707-E8A4-4E53-AECA-4BA3AC1DC764}"/>
              </a:ext>
            </a:extLst>
          </p:cNvPr>
          <p:cNvSpPr txBox="1"/>
          <p:nvPr/>
        </p:nvSpPr>
        <p:spPr>
          <a:xfrm>
            <a:off x="2833839" y="303547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15" name="Rounded Rectangle 133">
            <a:extLst>
              <a:ext uri="{FF2B5EF4-FFF2-40B4-BE49-F238E27FC236}">
                <a16:creationId xmlns:a16="http://schemas.microsoft.com/office/drawing/2014/main" id="{B4E9B23B-9688-4287-A09D-80A63CF4C91C}"/>
              </a:ext>
            </a:extLst>
          </p:cNvPr>
          <p:cNvSpPr/>
          <p:nvPr/>
        </p:nvSpPr>
        <p:spPr>
          <a:xfrm>
            <a:off x="3782625" y="240061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16" name="Straight Connector 215">
            <a:extLst>
              <a:ext uri="{FF2B5EF4-FFF2-40B4-BE49-F238E27FC236}">
                <a16:creationId xmlns:a16="http://schemas.microsoft.com/office/drawing/2014/main" id="{019088B6-0165-4D77-96D8-76E23D0B9099}"/>
              </a:ext>
            </a:extLst>
          </p:cNvPr>
          <p:cNvCxnSpPr>
            <a:cxnSpLocks/>
          </p:cNvCxnSpPr>
          <p:nvPr/>
        </p:nvCxnSpPr>
        <p:spPr>
          <a:xfrm>
            <a:off x="3777682" y="301234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17" name="TextBox 216">
            <a:extLst>
              <a:ext uri="{FF2B5EF4-FFF2-40B4-BE49-F238E27FC236}">
                <a16:creationId xmlns:a16="http://schemas.microsoft.com/office/drawing/2014/main" id="{7E876473-0958-470F-94E0-AF8A4A646158}"/>
              </a:ext>
            </a:extLst>
          </p:cNvPr>
          <p:cNvSpPr txBox="1"/>
          <p:nvPr/>
        </p:nvSpPr>
        <p:spPr>
          <a:xfrm>
            <a:off x="3782625" y="2581928"/>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3</a:t>
            </a:r>
          </a:p>
        </p:txBody>
      </p:sp>
      <p:sp>
        <p:nvSpPr>
          <p:cNvPr id="218" name="TextBox 217">
            <a:extLst>
              <a:ext uri="{FF2B5EF4-FFF2-40B4-BE49-F238E27FC236}">
                <a16:creationId xmlns:a16="http://schemas.microsoft.com/office/drawing/2014/main" id="{46D87170-105D-420E-9E4E-4397A7EB4A36}"/>
              </a:ext>
            </a:extLst>
          </p:cNvPr>
          <p:cNvSpPr txBox="1"/>
          <p:nvPr/>
        </p:nvSpPr>
        <p:spPr>
          <a:xfrm>
            <a:off x="3886826" y="303547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19" name="Rounded Rectangle 133">
            <a:extLst>
              <a:ext uri="{FF2B5EF4-FFF2-40B4-BE49-F238E27FC236}">
                <a16:creationId xmlns:a16="http://schemas.microsoft.com/office/drawing/2014/main" id="{84486422-E7FF-4ADC-AFF5-C103CCF9068F}"/>
              </a:ext>
            </a:extLst>
          </p:cNvPr>
          <p:cNvSpPr/>
          <p:nvPr/>
        </p:nvSpPr>
        <p:spPr>
          <a:xfrm>
            <a:off x="4830909" y="240061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20" name="Straight Connector 219">
            <a:extLst>
              <a:ext uri="{FF2B5EF4-FFF2-40B4-BE49-F238E27FC236}">
                <a16:creationId xmlns:a16="http://schemas.microsoft.com/office/drawing/2014/main" id="{1ABBB4D6-274D-41A6-B56B-B872531CAF71}"/>
              </a:ext>
            </a:extLst>
          </p:cNvPr>
          <p:cNvCxnSpPr>
            <a:cxnSpLocks/>
          </p:cNvCxnSpPr>
          <p:nvPr/>
        </p:nvCxnSpPr>
        <p:spPr>
          <a:xfrm>
            <a:off x="4825965" y="301234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21" name="TextBox 220">
            <a:extLst>
              <a:ext uri="{FF2B5EF4-FFF2-40B4-BE49-F238E27FC236}">
                <a16:creationId xmlns:a16="http://schemas.microsoft.com/office/drawing/2014/main" id="{E8326B96-B0BA-4A85-B698-E9F1BCAECCA3}"/>
              </a:ext>
            </a:extLst>
          </p:cNvPr>
          <p:cNvSpPr txBox="1"/>
          <p:nvPr/>
        </p:nvSpPr>
        <p:spPr>
          <a:xfrm>
            <a:off x="4830909" y="2581928"/>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4</a:t>
            </a:r>
          </a:p>
        </p:txBody>
      </p:sp>
      <p:sp>
        <p:nvSpPr>
          <p:cNvPr id="222" name="TextBox 221">
            <a:extLst>
              <a:ext uri="{FF2B5EF4-FFF2-40B4-BE49-F238E27FC236}">
                <a16:creationId xmlns:a16="http://schemas.microsoft.com/office/drawing/2014/main" id="{04DA19B5-838E-4FA3-AB9E-D4D47489DE3F}"/>
              </a:ext>
            </a:extLst>
          </p:cNvPr>
          <p:cNvSpPr txBox="1"/>
          <p:nvPr/>
        </p:nvSpPr>
        <p:spPr>
          <a:xfrm>
            <a:off x="4935110" y="303547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23" name="Rounded Rectangle 133">
            <a:extLst>
              <a:ext uri="{FF2B5EF4-FFF2-40B4-BE49-F238E27FC236}">
                <a16:creationId xmlns:a16="http://schemas.microsoft.com/office/drawing/2014/main" id="{D8AE39E2-9D13-4207-9B49-4E365E74E47A}"/>
              </a:ext>
            </a:extLst>
          </p:cNvPr>
          <p:cNvSpPr/>
          <p:nvPr/>
        </p:nvSpPr>
        <p:spPr>
          <a:xfrm>
            <a:off x="6454874" y="2442951"/>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24" name="Straight Connector 223">
            <a:extLst>
              <a:ext uri="{FF2B5EF4-FFF2-40B4-BE49-F238E27FC236}">
                <a16:creationId xmlns:a16="http://schemas.microsoft.com/office/drawing/2014/main" id="{C292E68D-C6E5-4D5D-B991-976FF334A218}"/>
              </a:ext>
            </a:extLst>
          </p:cNvPr>
          <p:cNvCxnSpPr>
            <a:cxnSpLocks/>
          </p:cNvCxnSpPr>
          <p:nvPr/>
        </p:nvCxnSpPr>
        <p:spPr>
          <a:xfrm>
            <a:off x="6449931" y="3054684"/>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25" name="TextBox 224">
            <a:extLst>
              <a:ext uri="{FF2B5EF4-FFF2-40B4-BE49-F238E27FC236}">
                <a16:creationId xmlns:a16="http://schemas.microsoft.com/office/drawing/2014/main" id="{7FE5515C-5D1D-467D-84C5-A0FFC6FBFBC0}"/>
              </a:ext>
            </a:extLst>
          </p:cNvPr>
          <p:cNvSpPr txBox="1"/>
          <p:nvPr/>
        </p:nvSpPr>
        <p:spPr>
          <a:xfrm>
            <a:off x="6454874" y="2624265"/>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5</a:t>
            </a:r>
          </a:p>
        </p:txBody>
      </p:sp>
      <p:sp>
        <p:nvSpPr>
          <p:cNvPr id="226" name="TextBox 225">
            <a:extLst>
              <a:ext uri="{FF2B5EF4-FFF2-40B4-BE49-F238E27FC236}">
                <a16:creationId xmlns:a16="http://schemas.microsoft.com/office/drawing/2014/main" id="{86C3D799-0723-4DF0-BC03-2E6F87C89386}"/>
              </a:ext>
            </a:extLst>
          </p:cNvPr>
          <p:cNvSpPr txBox="1"/>
          <p:nvPr/>
        </p:nvSpPr>
        <p:spPr>
          <a:xfrm>
            <a:off x="6559075" y="3077813"/>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27" name="Rounded Rectangle 133">
            <a:extLst>
              <a:ext uri="{FF2B5EF4-FFF2-40B4-BE49-F238E27FC236}">
                <a16:creationId xmlns:a16="http://schemas.microsoft.com/office/drawing/2014/main" id="{788F7864-0D86-4164-A074-10CD7284274E}"/>
              </a:ext>
            </a:extLst>
          </p:cNvPr>
          <p:cNvSpPr/>
          <p:nvPr/>
        </p:nvSpPr>
        <p:spPr>
          <a:xfrm>
            <a:off x="7507862" y="2442951"/>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28" name="Straight Connector 227">
            <a:extLst>
              <a:ext uri="{FF2B5EF4-FFF2-40B4-BE49-F238E27FC236}">
                <a16:creationId xmlns:a16="http://schemas.microsoft.com/office/drawing/2014/main" id="{8911B486-B292-49A4-8B49-63D09F7127F3}"/>
              </a:ext>
            </a:extLst>
          </p:cNvPr>
          <p:cNvCxnSpPr>
            <a:cxnSpLocks/>
          </p:cNvCxnSpPr>
          <p:nvPr/>
        </p:nvCxnSpPr>
        <p:spPr>
          <a:xfrm>
            <a:off x="7502918" y="3054684"/>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29" name="TextBox 228">
            <a:extLst>
              <a:ext uri="{FF2B5EF4-FFF2-40B4-BE49-F238E27FC236}">
                <a16:creationId xmlns:a16="http://schemas.microsoft.com/office/drawing/2014/main" id="{B683B0FF-930B-4B31-825C-B638859DEC2B}"/>
              </a:ext>
            </a:extLst>
          </p:cNvPr>
          <p:cNvSpPr txBox="1"/>
          <p:nvPr/>
        </p:nvSpPr>
        <p:spPr>
          <a:xfrm>
            <a:off x="7507862" y="2624265"/>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6</a:t>
            </a:r>
          </a:p>
        </p:txBody>
      </p:sp>
      <p:sp>
        <p:nvSpPr>
          <p:cNvPr id="230" name="TextBox 229">
            <a:extLst>
              <a:ext uri="{FF2B5EF4-FFF2-40B4-BE49-F238E27FC236}">
                <a16:creationId xmlns:a16="http://schemas.microsoft.com/office/drawing/2014/main" id="{2ACA09C1-585A-4A57-9D7F-423F81FB0023}"/>
              </a:ext>
            </a:extLst>
          </p:cNvPr>
          <p:cNvSpPr txBox="1"/>
          <p:nvPr/>
        </p:nvSpPr>
        <p:spPr>
          <a:xfrm>
            <a:off x="7612062" y="3077813"/>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31" name="Rounded Rectangle 133">
            <a:extLst>
              <a:ext uri="{FF2B5EF4-FFF2-40B4-BE49-F238E27FC236}">
                <a16:creationId xmlns:a16="http://schemas.microsoft.com/office/drawing/2014/main" id="{72510F7F-15BB-4F27-9BFC-6D2C101D7B08}"/>
              </a:ext>
            </a:extLst>
          </p:cNvPr>
          <p:cNvSpPr/>
          <p:nvPr/>
        </p:nvSpPr>
        <p:spPr>
          <a:xfrm>
            <a:off x="8560850" y="2442951"/>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32" name="Straight Connector 231">
            <a:extLst>
              <a:ext uri="{FF2B5EF4-FFF2-40B4-BE49-F238E27FC236}">
                <a16:creationId xmlns:a16="http://schemas.microsoft.com/office/drawing/2014/main" id="{71575159-C18D-4205-BC21-6BA6FFFB77C3}"/>
              </a:ext>
            </a:extLst>
          </p:cNvPr>
          <p:cNvCxnSpPr>
            <a:cxnSpLocks/>
          </p:cNvCxnSpPr>
          <p:nvPr/>
        </p:nvCxnSpPr>
        <p:spPr>
          <a:xfrm>
            <a:off x="8555906" y="3054684"/>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33" name="TextBox 232">
            <a:extLst>
              <a:ext uri="{FF2B5EF4-FFF2-40B4-BE49-F238E27FC236}">
                <a16:creationId xmlns:a16="http://schemas.microsoft.com/office/drawing/2014/main" id="{69D6DDC4-2510-4AFF-B5C3-8EAFB3E3D1E0}"/>
              </a:ext>
            </a:extLst>
          </p:cNvPr>
          <p:cNvSpPr txBox="1"/>
          <p:nvPr/>
        </p:nvSpPr>
        <p:spPr>
          <a:xfrm>
            <a:off x="8560850" y="2624265"/>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7</a:t>
            </a:r>
          </a:p>
        </p:txBody>
      </p:sp>
      <p:sp>
        <p:nvSpPr>
          <p:cNvPr id="234" name="TextBox 233">
            <a:extLst>
              <a:ext uri="{FF2B5EF4-FFF2-40B4-BE49-F238E27FC236}">
                <a16:creationId xmlns:a16="http://schemas.microsoft.com/office/drawing/2014/main" id="{A8BD7482-84E2-46BC-BEBF-65739FCBAFCF}"/>
              </a:ext>
            </a:extLst>
          </p:cNvPr>
          <p:cNvSpPr txBox="1"/>
          <p:nvPr/>
        </p:nvSpPr>
        <p:spPr>
          <a:xfrm>
            <a:off x="8665051" y="3077813"/>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35" name="Rounded Rectangle 133">
            <a:extLst>
              <a:ext uri="{FF2B5EF4-FFF2-40B4-BE49-F238E27FC236}">
                <a16:creationId xmlns:a16="http://schemas.microsoft.com/office/drawing/2014/main" id="{57D68322-C252-4A55-B7AB-720B6F7F7FE7}"/>
              </a:ext>
            </a:extLst>
          </p:cNvPr>
          <p:cNvSpPr/>
          <p:nvPr/>
        </p:nvSpPr>
        <p:spPr>
          <a:xfrm>
            <a:off x="9613837" y="2442951"/>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36" name="Straight Connector 235">
            <a:extLst>
              <a:ext uri="{FF2B5EF4-FFF2-40B4-BE49-F238E27FC236}">
                <a16:creationId xmlns:a16="http://schemas.microsoft.com/office/drawing/2014/main" id="{797103DF-B0B0-4497-8BE6-7CFC8D85CDC4}"/>
              </a:ext>
            </a:extLst>
          </p:cNvPr>
          <p:cNvCxnSpPr>
            <a:cxnSpLocks/>
          </p:cNvCxnSpPr>
          <p:nvPr/>
        </p:nvCxnSpPr>
        <p:spPr>
          <a:xfrm>
            <a:off x="9608894" y="3054684"/>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37" name="TextBox 236">
            <a:extLst>
              <a:ext uri="{FF2B5EF4-FFF2-40B4-BE49-F238E27FC236}">
                <a16:creationId xmlns:a16="http://schemas.microsoft.com/office/drawing/2014/main" id="{89C2F567-CD01-4666-863B-5BC870B56FF2}"/>
              </a:ext>
            </a:extLst>
          </p:cNvPr>
          <p:cNvSpPr txBox="1"/>
          <p:nvPr/>
        </p:nvSpPr>
        <p:spPr>
          <a:xfrm>
            <a:off x="9613837" y="2624265"/>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8</a:t>
            </a:r>
          </a:p>
        </p:txBody>
      </p:sp>
      <p:sp>
        <p:nvSpPr>
          <p:cNvPr id="238" name="TextBox 237">
            <a:extLst>
              <a:ext uri="{FF2B5EF4-FFF2-40B4-BE49-F238E27FC236}">
                <a16:creationId xmlns:a16="http://schemas.microsoft.com/office/drawing/2014/main" id="{FC5D6EF5-EC0C-4F83-B41E-C8864D885598}"/>
              </a:ext>
            </a:extLst>
          </p:cNvPr>
          <p:cNvSpPr txBox="1"/>
          <p:nvPr/>
        </p:nvSpPr>
        <p:spPr>
          <a:xfrm>
            <a:off x="9718038" y="3077813"/>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39" name="Rounded Rectangle 133">
            <a:extLst>
              <a:ext uri="{FF2B5EF4-FFF2-40B4-BE49-F238E27FC236}">
                <a16:creationId xmlns:a16="http://schemas.microsoft.com/office/drawing/2014/main" id="{1B378816-8E71-4CEF-B704-3A2BE0E69016}"/>
              </a:ext>
            </a:extLst>
          </p:cNvPr>
          <p:cNvSpPr/>
          <p:nvPr/>
        </p:nvSpPr>
        <p:spPr>
          <a:xfrm>
            <a:off x="10662121" y="2442951"/>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40" name="Straight Connector 239">
            <a:extLst>
              <a:ext uri="{FF2B5EF4-FFF2-40B4-BE49-F238E27FC236}">
                <a16:creationId xmlns:a16="http://schemas.microsoft.com/office/drawing/2014/main" id="{7C89A2DD-F5E4-4A6A-A7B5-B390FAAB86CD}"/>
              </a:ext>
            </a:extLst>
          </p:cNvPr>
          <p:cNvCxnSpPr>
            <a:cxnSpLocks/>
          </p:cNvCxnSpPr>
          <p:nvPr/>
        </p:nvCxnSpPr>
        <p:spPr>
          <a:xfrm>
            <a:off x="10657177" y="3054684"/>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41" name="TextBox 240">
            <a:extLst>
              <a:ext uri="{FF2B5EF4-FFF2-40B4-BE49-F238E27FC236}">
                <a16:creationId xmlns:a16="http://schemas.microsoft.com/office/drawing/2014/main" id="{B927003B-2A4C-4540-A106-56F3134AD444}"/>
              </a:ext>
            </a:extLst>
          </p:cNvPr>
          <p:cNvSpPr txBox="1"/>
          <p:nvPr/>
        </p:nvSpPr>
        <p:spPr>
          <a:xfrm>
            <a:off x="10662121" y="2624265"/>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9</a:t>
            </a:r>
          </a:p>
        </p:txBody>
      </p:sp>
      <p:sp>
        <p:nvSpPr>
          <p:cNvPr id="242" name="TextBox 241">
            <a:extLst>
              <a:ext uri="{FF2B5EF4-FFF2-40B4-BE49-F238E27FC236}">
                <a16:creationId xmlns:a16="http://schemas.microsoft.com/office/drawing/2014/main" id="{A3871F51-C483-4550-B0FA-DEA1CF13A65B}"/>
              </a:ext>
            </a:extLst>
          </p:cNvPr>
          <p:cNvSpPr txBox="1"/>
          <p:nvPr/>
        </p:nvSpPr>
        <p:spPr>
          <a:xfrm>
            <a:off x="10766322" y="3077813"/>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43" name="Rounded Rectangle 133">
            <a:extLst>
              <a:ext uri="{FF2B5EF4-FFF2-40B4-BE49-F238E27FC236}">
                <a16:creationId xmlns:a16="http://schemas.microsoft.com/office/drawing/2014/main" id="{990F75F7-9392-4AB1-BB39-8007B9748419}"/>
              </a:ext>
            </a:extLst>
          </p:cNvPr>
          <p:cNvSpPr/>
          <p:nvPr/>
        </p:nvSpPr>
        <p:spPr>
          <a:xfrm>
            <a:off x="618005" y="389219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44" name="Straight Connector 243">
            <a:extLst>
              <a:ext uri="{FF2B5EF4-FFF2-40B4-BE49-F238E27FC236}">
                <a16:creationId xmlns:a16="http://schemas.microsoft.com/office/drawing/2014/main" id="{F6DE5368-ECB0-477C-BD04-36582D2AED3A}"/>
              </a:ext>
            </a:extLst>
          </p:cNvPr>
          <p:cNvCxnSpPr>
            <a:cxnSpLocks/>
          </p:cNvCxnSpPr>
          <p:nvPr/>
        </p:nvCxnSpPr>
        <p:spPr>
          <a:xfrm>
            <a:off x="613062" y="450392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45" name="TextBox 244">
            <a:extLst>
              <a:ext uri="{FF2B5EF4-FFF2-40B4-BE49-F238E27FC236}">
                <a16:creationId xmlns:a16="http://schemas.microsoft.com/office/drawing/2014/main" id="{B47ACF19-70E0-4F30-A299-370DFD4ABDCF}"/>
              </a:ext>
            </a:extLst>
          </p:cNvPr>
          <p:cNvSpPr txBox="1"/>
          <p:nvPr/>
        </p:nvSpPr>
        <p:spPr>
          <a:xfrm>
            <a:off x="576252" y="4073508"/>
            <a:ext cx="1002178"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0</a:t>
            </a:r>
          </a:p>
        </p:txBody>
      </p:sp>
      <p:sp>
        <p:nvSpPr>
          <p:cNvPr id="246" name="TextBox 245">
            <a:extLst>
              <a:ext uri="{FF2B5EF4-FFF2-40B4-BE49-F238E27FC236}">
                <a16:creationId xmlns:a16="http://schemas.microsoft.com/office/drawing/2014/main" id="{5F4C9DEA-53B2-42F7-977C-8BB1111A5452}"/>
              </a:ext>
            </a:extLst>
          </p:cNvPr>
          <p:cNvSpPr txBox="1"/>
          <p:nvPr/>
        </p:nvSpPr>
        <p:spPr>
          <a:xfrm>
            <a:off x="722206" y="452705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47" name="Rounded Rectangle 133">
            <a:extLst>
              <a:ext uri="{FF2B5EF4-FFF2-40B4-BE49-F238E27FC236}">
                <a16:creationId xmlns:a16="http://schemas.microsoft.com/office/drawing/2014/main" id="{2E867C4A-A728-4214-88E9-03B2E73DA8B2}"/>
              </a:ext>
            </a:extLst>
          </p:cNvPr>
          <p:cNvSpPr/>
          <p:nvPr/>
        </p:nvSpPr>
        <p:spPr>
          <a:xfrm>
            <a:off x="1670994" y="389219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48" name="Straight Connector 247">
            <a:extLst>
              <a:ext uri="{FF2B5EF4-FFF2-40B4-BE49-F238E27FC236}">
                <a16:creationId xmlns:a16="http://schemas.microsoft.com/office/drawing/2014/main" id="{33A4602F-DEC3-474B-9F97-41B0B8BE1523}"/>
              </a:ext>
            </a:extLst>
          </p:cNvPr>
          <p:cNvCxnSpPr>
            <a:cxnSpLocks/>
          </p:cNvCxnSpPr>
          <p:nvPr/>
        </p:nvCxnSpPr>
        <p:spPr>
          <a:xfrm>
            <a:off x="1666049" y="450392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49" name="TextBox 248">
            <a:extLst>
              <a:ext uri="{FF2B5EF4-FFF2-40B4-BE49-F238E27FC236}">
                <a16:creationId xmlns:a16="http://schemas.microsoft.com/office/drawing/2014/main" id="{EAFD2B65-C5D3-4E2E-95DC-B69402DCF252}"/>
              </a:ext>
            </a:extLst>
          </p:cNvPr>
          <p:cNvSpPr txBox="1"/>
          <p:nvPr/>
        </p:nvSpPr>
        <p:spPr>
          <a:xfrm>
            <a:off x="1633819" y="4073508"/>
            <a:ext cx="997623"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1</a:t>
            </a:r>
          </a:p>
        </p:txBody>
      </p:sp>
      <p:sp>
        <p:nvSpPr>
          <p:cNvPr id="250" name="TextBox 249">
            <a:extLst>
              <a:ext uri="{FF2B5EF4-FFF2-40B4-BE49-F238E27FC236}">
                <a16:creationId xmlns:a16="http://schemas.microsoft.com/office/drawing/2014/main" id="{02E39EAD-0C29-46F5-A020-FB05FC9F6694}"/>
              </a:ext>
            </a:extLst>
          </p:cNvPr>
          <p:cNvSpPr txBox="1"/>
          <p:nvPr/>
        </p:nvSpPr>
        <p:spPr>
          <a:xfrm>
            <a:off x="1775194" y="452705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51" name="Rounded Rectangle 133">
            <a:extLst>
              <a:ext uri="{FF2B5EF4-FFF2-40B4-BE49-F238E27FC236}">
                <a16:creationId xmlns:a16="http://schemas.microsoft.com/office/drawing/2014/main" id="{132F8053-03A8-4566-B2D1-F4A86A46A5D3}"/>
              </a:ext>
            </a:extLst>
          </p:cNvPr>
          <p:cNvSpPr/>
          <p:nvPr/>
        </p:nvSpPr>
        <p:spPr>
          <a:xfrm>
            <a:off x="2723981" y="389219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52" name="Straight Connector 251">
            <a:extLst>
              <a:ext uri="{FF2B5EF4-FFF2-40B4-BE49-F238E27FC236}">
                <a16:creationId xmlns:a16="http://schemas.microsoft.com/office/drawing/2014/main" id="{C1854057-11DB-4C89-A2CA-52BA33B5124E}"/>
              </a:ext>
            </a:extLst>
          </p:cNvPr>
          <p:cNvCxnSpPr>
            <a:cxnSpLocks/>
          </p:cNvCxnSpPr>
          <p:nvPr/>
        </p:nvCxnSpPr>
        <p:spPr>
          <a:xfrm>
            <a:off x="2719038" y="450392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53" name="TextBox 252">
            <a:extLst>
              <a:ext uri="{FF2B5EF4-FFF2-40B4-BE49-F238E27FC236}">
                <a16:creationId xmlns:a16="http://schemas.microsoft.com/office/drawing/2014/main" id="{5FBA0C64-FF54-45F4-AC91-B77450F98EDD}"/>
              </a:ext>
            </a:extLst>
          </p:cNvPr>
          <p:cNvSpPr txBox="1"/>
          <p:nvPr/>
        </p:nvSpPr>
        <p:spPr>
          <a:xfrm>
            <a:off x="2705164" y="4073508"/>
            <a:ext cx="96794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2</a:t>
            </a:r>
          </a:p>
        </p:txBody>
      </p:sp>
      <p:sp>
        <p:nvSpPr>
          <p:cNvPr id="254" name="TextBox 253">
            <a:extLst>
              <a:ext uri="{FF2B5EF4-FFF2-40B4-BE49-F238E27FC236}">
                <a16:creationId xmlns:a16="http://schemas.microsoft.com/office/drawing/2014/main" id="{EB9C86D7-4D22-4CAA-8FEB-FA699226348F}"/>
              </a:ext>
            </a:extLst>
          </p:cNvPr>
          <p:cNvSpPr txBox="1"/>
          <p:nvPr/>
        </p:nvSpPr>
        <p:spPr>
          <a:xfrm>
            <a:off x="2828182" y="452705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55" name="Rounded Rectangle 133">
            <a:extLst>
              <a:ext uri="{FF2B5EF4-FFF2-40B4-BE49-F238E27FC236}">
                <a16:creationId xmlns:a16="http://schemas.microsoft.com/office/drawing/2014/main" id="{47804046-1181-458E-A8D8-50E762912877}"/>
              </a:ext>
            </a:extLst>
          </p:cNvPr>
          <p:cNvSpPr/>
          <p:nvPr/>
        </p:nvSpPr>
        <p:spPr>
          <a:xfrm>
            <a:off x="3776969" y="389219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56" name="Straight Connector 255">
            <a:extLst>
              <a:ext uri="{FF2B5EF4-FFF2-40B4-BE49-F238E27FC236}">
                <a16:creationId xmlns:a16="http://schemas.microsoft.com/office/drawing/2014/main" id="{5EF06E32-A5B0-429F-A7BC-5C1C49AE7AA8}"/>
              </a:ext>
            </a:extLst>
          </p:cNvPr>
          <p:cNvCxnSpPr>
            <a:cxnSpLocks/>
          </p:cNvCxnSpPr>
          <p:nvPr/>
        </p:nvCxnSpPr>
        <p:spPr>
          <a:xfrm>
            <a:off x="3772025" y="450392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57" name="TextBox 256">
            <a:extLst>
              <a:ext uri="{FF2B5EF4-FFF2-40B4-BE49-F238E27FC236}">
                <a16:creationId xmlns:a16="http://schemas.microsoft.com/office/drawing/2014/main" id="{1AF0E181-E522-4866-929D-6865CFED34A4}"/>
              </a:ext>
            </a:extLst>
          </p:cNvPr>
          <p:cNvSpPr txBox="1"/>
          <p:nvPr/>
        </p:nvSpPr>
        <p:spPr>
          <a:xfrm>
            <a:off x="3766569" y="4073508"/>
            <a:ext cx="953857"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3</a:t>
            </a:r>
          </a:p>
        </p:txBody>
      </p:sp>
      <p:sp>
        <p:nvSpPr>
          <p:cNvPr id="258" name="TextBox 257">
            <a:extLst>
              <a:ext uri="{FF2B5EF4-FFF2-40B4-BE49-F238E27FC236}">
                <a16:creationId xmlns:a16="http://schemas.microsoft.com/office/drawing/2014/main" id="{60DDB963-920C-4810-8020-0D89754BBC20}"/>
              </a:ext>
            </a:extLst>
          </p:cNvPr>
          <p:cNvSpPr txBox="1"/>
          <p:nvPr/>
        </p:nvSpPr>
        <p:spPr>
          <a:xfrm>
            <a:off x="3881170" y="452705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59" name="Rounded Rectangle 133">
            <a:extLst>
              <a:ext uri="{FF2B5EF4-FFF2-40B4-BE49-F238E27FC236}">
                <a16:creationId xmlns:a16="http://schemas.microsoft.com/office/drawing/2014/main" id="{BAAF914F-B16D-4D40-A263-07FE24C8963E}"/>
              </a:ext>
            </a:extLst>
          </p:cNvPr>
          <p:cNvSpPr/>
          <p:nvPr/>
        </p:nvSpPr>
        <p:spPr>
          <a:xfrm>
            <a:off x="4825252" y="389219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60" name="Straight Connector 259">
            <a:extLst>
              <a:ext uri="{FF2B5EF4-FFF2-40B4-BE49-F238E27FC236}">
                <a16:creationId xmlns:a16="http://schemas.microsoft.com/office/drawing/2014/main" id="{8CBE6966-BEFD-4F18-A289-C4170C006C67}"/>
              </a:ext>
            </a:extLst>
          </p:cNvPr>
          <p:cNvCxnSpPr>
            <a:cxnSpLocks/>
          </p:cNvCxnSpPr>
          <p:nvPr/>
        </p:nvCxnSpPr>
        <p:spPr>
          <a:xfrm>
            <a:off x="4820309" y="450392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61" name="TextBox 260">
            <a:extLst>
              <a:ext uri="{FF2B5EF4-FFF2-40B4-BE49-F238E27FC236}">
                <a16:creationId xmlns:a16="http://schemas.microsoft.com/office/drawing/2014/main" id="{F28C4F81-6287-48D2-88F1-1EFA67BCAAC3}"/>
              </a:ext>
            </a:extLst>
          </p:cNvPr>
          <p:cNvSpPr txBox="1"/>
          <p:nvPr/>
        </p:nvSpPr>
        <p:spPr>
          <a:xfrm>
            <a:off x="4811087" y="4073508"/>
            <a:ext cx="957602"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4</a:t>
            </a:r>
          </a:p>
        </p:txBody>
      </p:sp>
      <p:sp>
        <p:nvSpPr>
          <p:cNvPr id="262" name="TextBox 261">
            <a:extLst>
              <a:ext uri="{FF2B5EF4-FFF2-40B4-BE49-F238E27FC236}">
                <a16:creationId xmlns:a16="http://schemas.microsoft.com/office/drawing/2014/main" id="{B7B8B72D-180B-4F9E-914E-59D3BF7E849A}"/>
              </a:ext>
            </a:extLst>
          </p:cNvPr>
          <p:cNvSpPr txBox="1"/>
          <p:nvPr/>
        </p:nvSpPr>
        <p:spPr>
          <a:xfrm>
            <a:off x="4929453" y="452705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63" name="Rounded Rectangle 133">
            <a:extLst>
              <a:ext uri="{FF2B5EF4-FFF2-40B4-BE49-F238E27FC236}">
                <a16:creationId xmlns:a16="http://schemas.microsoft.com/office/drawing/2014/main" id="{07533C94-6266-418D-9CD3-508CC342EFEB}"/>
              </a:ext>
            </a:extLst>
          </p:cNvPr>
          <p:cNvSpPr/>
          <p:nvPr/>
        </p:nvSpPr>
        <p:spPr>
          <a:xfrm>
            <a:off x="6483061" y="3878668"/>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64" name="Straight Connector 263">
            <a:extLst>
              <a:ext uri="{FF2B5EF4-FFF2-40B4-BE49-F238E27FC236}">
                <a16:creationId xmlns:a16="http://schemas.microsoft.com/office/drawing/2014/main" id="{1B124AFE-5500-4CD0-848E-D4D1267D658B}"/>
              </a:ext>
            </a:extLst>
          </p:cNvPr>
          <p:cNvCxnSpPr>
            <a:cxnSpLocks/>
          </p:cNvCxnSpPr>
          <p:nvPr/>
        </p:nvCxnSpPr>
        <p:spPr>
          <a:xfrm>
            <a:off x="6478117" y="4490401"/>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65" name="TextBox 264">
            <a:extLst>
              <a:ext uri="{FF2B5EF4-FFF2-40B4-BE49-F238E27FC236}">
                <a16:creationId xmlns:a16="http://schemas.microsoft.com/office/drawing/2014/main" id="{908F615D-B658-49CA-96BC-0DC58C18530C}"/>
              </a:ext>
            </a:extLst>
          </p:cNvPr>
          <p:cNvSpPr txBox="1"/>
          <p:nvPr/>
        </p:nvSpPr>
        <p:spPr>
          <a:xfrm>
            <a:off x="6453311" y="4059982"/>
            <a:ext cx="984526"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5</a:t>
            </a:r>
          </a:p>
        </p:txBody>
      </p:sp>
      <p:sp>
        <p:nvSpPr>
          <p:cNvPr id="266" name="TextBox 265">
            <a:extLst>
              <a:ext uri="{FF2B5EF4-FFF2-40B4-BE49-F238E27FC236}">
                <a16:creationId xmlns:a16="http://schemas.microsoft.com/office/drawing/2014/main" id="{5AF54F9D-C94B-480C-8F16-5864B4F6E455}"/>
              </a:ext>
            </a:extLst>
          </p:cNvPr>
          <p:cNvSpPr txBox="1"/>
          <p:nvPr/>
        </p:nvSpPr>
        <p:spPr>
          <a:xfrm>
            <a:off x="6587262" y="4513530"/>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67" name="Rounded Rectangle 133">
            <a:extLst>
              <a:ext uri="{FF2B5EF4-FFF2-40B4-BE49-F238E27FC236}">
                <a16:creationId xmlns:a16="http://schemas.microsoft.com/office/drawing/2014/main" id="{73FDE296-F9D0-4528-B076-5537A14D2972}"/>
              </a:ext>
            </a:extLst>
          </p:cNvPr>
          <p:cNvSpPr/>
          <p:nvPr/>
        </p:nvSpPr>
        <p:spPr>
          <a:xfrm>
            <a:off x="7536049" y="3878668"/>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68" name="Straight Connector 267">
            <a:extLst>
              <a:ext uri="{FF2B5EF4-FFF2-40B4-BE49-F238E27FC236}">
                <a16:creationId xmlns:a16="http://schemas.microsoft.com/office/drawing/2014/main" id="{5989172B-F381-4B2B-9168-70FC7BD70A71}"/>
              </a:ext>
            </a:extLst>
          </p:cNvPr>
          <p:cNvCxnSpPr>
            <a:cxnSpLocks/>
          </p:cNvCxnSpPr>
          <p:nvPr/>
        </p:nvCxnSpPr>
        <p:spPr>
          <a:xfrm>
            <a:off x="7531105" y="4490401"/>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69" name="TextBox 268">
            <a:extLst>
              <a:ext uri="{FF2B5EF4-FFF2-40B4-BE49-F238E27FC236}">
                <a16:creationId xmlns:a16="http://schemas.microsoft.com/office/drawing/2014/main" id="{4863F30D-0BD3-4E55-A7F4-82E66B73D6F6}"/>
              </a:ext>
            </a:extLst>
          </p:cNvPr>
          <p:cNvSpPr txBox="1"/>
          <p:nvPr/>
        </p:nvSpPr>
        <p:spPr>
          <a:xfrm>
            <a:off x="7502918" y="4059982"/>
            <a:ext cx="982180"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6</a:t>
            </a:r>
          </a:p>
        </p:txBody>
      </p:sp>
      <p:sp>
        <p:nvSpPr>
          <p:cNvPr id="270" name="TextBox 269">
            <a:extLst>
              <a:ext uri="{FF2B5EF4-FFF2-40B4-BE49-F238E27FC236}">
                <a16:creationId xmlns:a16="http://schemas.microsoft.com/office/drawing/2014/main" id="{0AEB6C24-A58F-4E00-94C0-690F8EC08715}"/>
              </a:ext>
            </a:extLst>
          </p:cNvPr>
          <p:cNvSpPr txBox="1"/>
          <p:nvPr/>
        </p:nvSpPr>
        <p:spPr>
          <a:xfrm>
            <a:off x="7640249" y="4513530"/>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71" name="Rounded Rectangle 133">
            <a:extLst>
              <a:ext uri="{FF2B5EF4-FFF2-40B4-BE49-F238E27FC236}">
                <a16:creationId xmlns:a16="http://schemas.microsoft.com/office/drawing/2014/main" id="{699A8BFE-C7B9-4C14-BB43-3D7AFDFE4BE6}"/>
              </a:ext>
            </a:extLst>
          </p:cNvPr>
          <p:cNvSpPr/>
          <p:nvPr/>
        </p:nvSpPr>
        <p:spPr>
          <a:xfrm>
            <a:off x="8589037" y="3878668"/>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72" name="Straight Connector 271">
            <a:extLst>
              <a:ext uri="{FF2B5EF4-FFF2-40B4-BE49-F238E27FC236}">
                <a16:creationId xmlns:a16="http://schemas.microsoft.com/office/drawing/2014/main" id="{C6DDC8D6-24E1-4A4D-BD9A-6588FDC8033C}"/>
              </a:ext>
            </a:extLst>
          </p:cNvPr>
          <p:cNvCxnSpPr>
            <a:cxnSpLocks/>
          </p:cNvCxnSpPr>
          <p:nvPr/>
        </p:nvCxnSpPr>
        <p:spPr>
          <a:xfrm>
            <a:off x="8584093" y="4490401"/>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73" name="TextBox 272">
            <a:extLst>
              <a:ext uri="{FF2B5EF4-FFF2-40B4-BE49-F238E27FC236}">
                <a16:creationId xmlns:a16="http://schemas.microsoft.com/office/drawing/2014/main" id="{C2AC0657-1A9C-4EFA-86AA-368C1B201EE3}"/>
              </a:ext>
            </a:extLst>
          </p:cNvPr>
          <p:cNvSpPr txBox="1"/>
          <p:nvPr/>
        </p:nvSpPr>
        <p:spPr>
          <a:xfrm>
            <a:off x="8578676" y="4059982"/>
            <a:ext cx="953818"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7</a:t>
            </a:r>
          </a:p>
        </p:txBody>
      </p:sp>
      <p:sp>
        <p:nvSpPr>
          <p:cNvPr id="274" name="TextBox 273">
            <a:extLst>
              <a:ext uri="{FF2B5EF4-FFF2-40B4-BE49-F238E27FC236}">
                <a16:creationId xmlns:a16="http://schemas.microsoft.com/office/drawing/2014/main" id="{590CD291-5CE9-47AB-A029-7958A1FB7786}"/>
              </a:ext>
            </a:extLst>
          </p:cNvPr>
          <p:cNvSpPr txBox="1"/>
          <p:nvPr/>
        </p:nvSpPr>
        <p:spPr>
          <a:xfrm>
            <a:off x="8693238" y="4513530"/>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75" name="Rounded Rectangle 133">
            <a:extLst>
              <a:ext uri="{FF2B5EF4-FFF2-40B4-BE49-F238E27FC236}">
                <a16:creationId xmlns:a16="http://schemas.microsoft.com/office/drawing/2014/main" id="{405972B5-7823-4F3C-A1F4-90F282369520}"/>
              </a:ext>
            </a:extLst>
          </p:cNvPr>
          <p:cNvSpPr/>
          <p:nvPr/>
        </p:nvSpPr>
        <p:spPr>
          <a:xfrm>
            <a:off x="9642024" y="3878668"/>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76" name="Straight Connector 275">
            <a:extLst>
              <a:ext uri="{FF2B5EF4-FFF2-40B4-BE49-F238E27FC236}">
                <a16:creationId xmlns:a16="http://schemas.microsoft.com/office/drawing/2014/main" id="{FF6F8280-3D49-40A3-9133-75B9CB2B5E07}"/>
              </a:ext>
            </a:extLst>
          </p:cNvPr>
          <p:cNvCxnSpPr>
            <a:cxnSpLocks/>
          </p:cNvCxnSpPr>
          <p:nvPr/>
        </p:nvCxnSpPr>
        <p:spPr>
          <a:xfrm>
            <a:off x="9637081" y="4490401"/>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77" name="TextBox 276">
            <a:extLst>
              <a:ext uri="{FF2B5EF4-FFF2-40B4-BE49-F238E27FC236}">
                <a16:creationId xmlns:a16="http://schemas.microsoft.com/office/drawing/2014/main" id="{19738CE1-7F3C-4E3C-8B4B-29F43A84EDE3}"/>
              </a:ext>
            </a:extLst>
          </p:cNvPr>
          <p:cNvSpPr txBox="1"/>
          <p:nvPr/>
        </p:nvSpPr>
        <p:spPr>
          <a:xfrm>
            <a:off x="9603183" y="4059982"/>
            <a:ext cx="98786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8</a:t>
            </a:r>
          </a:p>
        </p:txBody>
      </p:sp>
      <p:sp>
        <p:nvSpPr>
          <p:cNvPr id="278" name="TextBox 277">
            <a:extLst>
              <a:ext uri="{FF2B5EF4-FFF2-40B4-BE49-F238E27FC236}">
                <a16:creationId xmlns:a16="http://schemas.microsoft.com/office/drawing/2014/main" id="{06020C09-59CE-420A-940D-E0F29CDD67D5}"/>
              </a:ext>
            </a:extLst>
          </p:cNvPr>
          <p:cNvSpPr txBox="1"/>
          <p:nvPr/>
        </p:nvSpPr>
        <p:spPr>
          <a:xfrm>
            <a:off x="9746225" y="4513530"/>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79" name="Rounded Rectangle 133">
            <a:extLst>
              <a:ext uri="{FF2B5EF4-FFF2-40B4-BE49-F238E27FC236}">
                <a16:creationId xmlns:a16="http://schemas.microsoft.com/office/drawing/2014/main" id="{0670CAC1-BD29-43E1-8C26-C5B1E6B437FE}"/>
              </a:ext>
            </a:extLst>
          </p:cNvPr>
          <p:cNvSpPr/>
          <p:nvPr/>
        </p:nvSpPr>
        <p:spPr>
          <a:xfrm>
            <a:off x="10690308" y="3878668"/>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80" name="Straight Connector 279">
            <a:extLst>
              <a:ext uri="{FF2B5EF4-FFF2-40B4-BE49-F238E27FC236}">
                <a16:creationId xmlns:a16="http://schemas.microsoft.com/office/drawing/2014/main" id="{E46BF5B6-2763-4F6D-895E-36F3224AFAB1}"/>
              </a:ext>
            </a:extLst>
          </p:cNvPr>
          <p:cNvCxnSpPr>
            <a:cxnSpLocks/>
          </p:cNvCxnSpPr>
          <p:nvPr/>
        </p:nvCxnSpPr>
        <p:spPr>
          <a:xfrm>
            <a:off x="10685364" y="4490401"/>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81" name="TextBox 280">
            <a:extLst>
              <a:ext uri="{FF2B5EF4-FFF2-40B4-BE49-F238E27FC236}">
                <a16:creationId xmlns:a16="http://schemas.microsoft.com/office/drawing/2014/main" id="{3740A316-F6C3-4F43-9725-C0FA827366D4}"/>
              </a:ext>
            </a:extLst>
          </p:cNvPr>
          <p:cNvSpPr txBox="1"/>
          <p:nvPr/>
        </p:nvSpPr>
        <p:spPr>
          <a:xfrm>
            <a:off x="10644813" y="4059982"/>
            <a:ext cx="1011609"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9</a:t>
            </a:r>
          </a:p>
        </p:txBody>
      </p:sp>
      <p:sp>
        <p:nvSpPr>
          <p:cNvPr id="282" name="TextBox 281">
            <a:extLst>
              <a:ext uri="{FF2B5EF4-FFF2-40B4-BE49-F238E27FC236}">
                <a16:creationId xmlns:a16="http://schemas.microsoft.com/office/drawing/2014/main" id="{D2CAE211-CEDE-4794-AF0E-8CE2B55C5516}"/>
              </a:ext>
            </a:extLst>
          </p:cNvPr>
          <p:cNvSpPr txBox="1"/>
          <p:nvPr/>
        </p:nvSpPr>
        <p:spPr>
          <a:xfrm>
            <a:off x="10794509" y="4513530"/>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83" name="TextBox 282">
            <a:extLst>
              <a:ext uri="{FF2B5EF4-FFF2-40B4-BE49-F238E27FC236}">
                <a16:creationId xmlns:a16="http://schemas.microsoft.com/office/drawing/2014/main" id="{8A0B0511-2ED2-4563-8B97-9EF2C8F99673}"/>
              </a:ext>
            </a:extLst>
          </p:cNvPr>
          <p:cNvSpPr txBox="1"/>
          <p:nvPr/>
        </p:nvSpPr>
        <p:spPr>
          <a:xfrm>
            <a:off x="505172" y="3364695"/>
            <a:ext cx="2103622" cy="331899"/>
          </a:xfrm>
          <a:prstGeom prst="rect">
            <a:avLst/>
          </a:prstGeom>
          <a:noFill/>
        </p:spPr>
        <p:txBody>
          <a:bodyPr wrap="square" rtlCol="0">
            <a:spAutoFit/>
          </a:bodyPr>
          <a:lstStyle/>
          <a:p>
            <a:pPr defTabSz="448193">
              <a:defRPr/>
            </a:pPr>
            <a:r>
              <a:rPr lang="en-US" sz="1568" b="1" kern="0" dirty="0">
                <a:solidFill>
                  <a:srgbClr val="000000"/>
                </a:solidFill>
              </a:rPr>
              <a:t>Soft-NUMA Node 0</a:t>
            </a:r>
            <a:endParaRPr lang="en-US" sz="3659" b="1" kern="0" dirty="0">
              <a:solidFill>
                <a:srgbClr val="000000"/>
              </a:solidFill>
            </a:endParaRPr>
          </a:p>
        </p:txBody>
      </p:sp>
      <p:sp>
        <p:nvSpPr>
          <p:cNvPr id="284" name="TextBox 283">
            <a:extLst>
              <a:ext uri="{FF2B5EF4-FFF2-40B4-BE49-F238E27FC236}">
                <a16:creationId xmlns:a16="http://schemas.microsoft.com/office/drawing/2014/main" id="{B79FB5ED-2261-4D26-8CE7-A4DCDEF5BEEA}"/>
              </a:ext>
            </a:extLst>
          </p:cNvPr>
          <p:cNvSpPr txBox="1"/>
          <p:nvPr/>
        </p:nvSpPr>
        <p:spPr>
          <a:xfrm>
            <a:off x="522599" y="4856054"/>
            <a:ext cx="2103622" cy="331899"/>
          </a:xfrm>
          <a:prstGeom prst="rect">
            <a:avLst/>
          </a:prstGeom>
          <a:noFill/>
        </p:spPr>
        <p:txBody>
          <a:bodyPr wrap="square" rtlCol="0">
            <a:spAutoFit/>
          </a:bodyPr>
          <a:lstStyle/>
          <a:p>
            <a:pPr defTabSz="448193">
              <a:defRPr/>
            </a:pPr>
            <a:r>
              <a:rPr lang="en-US" sz="1568" b="1" kern="0" dirty="0">
                <a:solidFill>
                  <a:srgbClr val="000000"/>
                </a:solidFill>
              </a:rPr>
              <a:t>Soft-NUMA Node 2</a:t>
            </a:r>
            <a:endParaRPr lang="en-US" sz="3659" b="1" kern="0" dirty="0">
              <a:solidFill>
                <a:srgbClr val="000000"/>
              </a:solidFill>
            </a:endParaRPr>
          </a:p>
        </p:txBody>
      </p:sp>
      <p:sp>
        <p:nvSpPr>
          <p:cNvPr id="285" name="TextBox 284">
            <a:extLst>
              <a:ext uri="{FF2B5EF4-FFF2-40B4-BE49-F238E27FC236}">
                <a16:creationId xmlns:a16="http://schemas.microsoft.com/office/drawing/2014/main" id="{715C9762-DA06-4161-9B1C-2430F6FC9898}"/>
              </a:ext>
            </a:extLst>
          </p:cNvPr>
          <p:cNvSpPr txBox="1"/>
          <p:nvPr/>
        </p:nvSpPr>
        <p:spPr>
          <a:xfrm>
            <a:off x="6314004" y="3368546"/>
            <a:ext cx="2103622" cy="331899"/>
          </a:xfrm>
          <a:prstGeom prst="rect">
            <a:avLst/>
          </a:prstGeom>
          <a:noFill/>
        </p:spPr>
        <p:txBody>
          <a:bodyPr wrap="square" rtlCol="0">
            <a:spAutoFit/>
          </a:bodyPr>
          <a:lstStyle/>
          <a:p>
            <a:pPr defTabSz="448193">
              <a:defRPr/>
            </a:pPr>
            <a:r>
              <a:rPr lang="en-US" sz="1568" b="1" kern="0" dirty="0">
                <a:solidFill>
                  <a:srgbClr val="000000"/>
                </a:solidFill>
              </a:rPr>
              <a:t>Soft-NUMA Node 1</a:t>
            </a:r>
            <a:endParaRPr lang="en-US" sz="3659" b="1" kern="0" dirty="0">
              <a:solidFill>
                <a:srgbClr val="000000"/>
              </a:solidFill>
            </a:endParaRPr>
          </a:p>
        </p:txBody>
      </p:sp>
      <p:sp>
        <p:nvSpPr>
          <p:cNvPr id="286" name="TextBox 285">
            <a:extLst>
              <a:ext uri="{FF2B5EF4-FFF2-40B4-BE49-F238E27FC236}">
                <a16:creationId xmlns:a16="http://schemas.microsoft.com/office/drawing/2014/main" id="{4F3E29D6-CE7C-4844-B795-EEF5EEAB940B}"/>
              </a:ext>
            </a:extLst>
          </p:cNvPr>
          <p:cNvSpPr txBox="1"/>
          <p:nvPr/>
        </p:nvSpPr>
        <p:spPr>
          <a:xfrm>
            <a:off x="6342040" y="4821608"/>
            <a:ext cx="2103622" cy="331899"/>
          </a:xfrm>
          <a:prstGeom prst="rect">
            <a:avLst/>
          </a:prstGeom>
          <a:noFill/>
        </p:spPr>
        <p:txBody>
          <a:bodyPr wrap="square" rtlCol="0">
            <a:spAutoFit/>
          </a:bodyPr>
          <a:lstStyle/>
          <a:p>
            <a:pPr defTabSz="448193">
              <a:defRPr/>
            </a:pPr>
            <a:r>
              <a:rPr lang="en-US" sz="1568" b="1" kern="0" dirty="0">
                <a:solidFill>
                  <a:srgbClr val="000000"/>
                </a:solidFill>
              </a:rPr>
              <a:t>Soft-NUMA Node 3</a:t>
            </a:r>
            <a:endParaRPr lang="en-US" sz="3659" b="1" kern="0" dirty="0">
              <a:solidFill>
                <a:srgbClr val="000000"/>
              </a:solidFill>
            </a:endParaRPr>
          </a:p>
        </p:txBody>
      </p:sp>
      <p:sp>
        <p:nvSpPr>
          <p:cNvPr id="287" name="Text Placeholder 3">
            <a:extLst>
              <a:ext uri="{FF2B5EF4-FFF2-40B4-BE49-F238E27FC236}">
                <a16:creationId xmlns:a16="http://schemas.microsoft.com/office/drawing/2014/main" id="{69783D41-2B58-4DC9-9853-8A95CF9181E1}"/>
              </a:ext>
            </a:extLst>
          </p:cNvPr>
          <p:cNvSpPr txBox="1">
            <a:spLocks/>
          </p:cNvSpPr>
          <p:nvPr/>
        </p:nvSpPr>
        <p:spPr>
          <a:xfrm>
            <a:off x="525005" y="1632858"/>
            <a:ext cx="10880725" cy="461665"/>
          </a:xfrm>
          <a:prstGeom prst="rect">
            <a:avLst/>
          </a:prstGeom>
        </p:spPr>
        <p:txBody>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With Soft-NUMA</a:t>
            </a:r>
          </a:p>
        </p:txBody>
      </p:sp>
    </p:spTree>
    <p:custDataLst>
      <p:tags r:id="rId1"/>
    </p:custDataLst>
    <p:extLst>
      <p:ext uri="{BB962C8B-B14F-4D97-AF65-F5344CB8AC3E}">
        <p14:creationId xmlns:p14="http://schemas.microsoft.com/office/powerpoint/2010/main" val="40700795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91"/>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207"/>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208"/>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192"/>
                                        </p:tgtEl>
                                        <p:attrNameLst>
                                          <p:attrName>style.visibility</p:attrName>
                                        </p:attrNameLst>
                                      </p:cBhvr>
                                      <p:to>
                                        <p:strVal val="hidden"/>
                                      </p:to>
                                    </p:set>
                                  </p:childTnLst>
                                </p:cTn>
                              </p:par>
                              <p:par>
                                <p:cTn id="13" presetID="1" presetClass="entr" presetSubtype="0" fill="hold" grpId="0" nodeType="withEffect">
                                  <p:stCondLst>
                                    <p:cond delay="0"/>
                                  </p:stCondLst>
                                  <p:childTnLst>
                                    <p:set>
                                      <p:cBhvr>
                                        <p:cTn id="14" dur="1" fill="hold">
                                          <p:stCondLst>
                                            <p:cond delay="0"/>
                                          </p:stCondLst>
                                        </p:cTn>
                                        <p:tgtEl>
                                          <p:spTgt spid="19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9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9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0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0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0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0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0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0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1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1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1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16"/>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1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18"/>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19"/>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20"/>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21"/>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2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23"/>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224"/>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225"/>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26"/>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27"/>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228"/>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229"/>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230"/>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231"/>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232"/>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233"/>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234"/>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235"/>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36"/>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237"/>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238"/>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239"/>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240"/>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241"/>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242"/>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243"/>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244"/>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245"/>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246"/>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247"/>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248"/>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249"/>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250"/>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251"/>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252"/>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253"/>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254"/>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255"/>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256"/>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257"/>
                                        </p:tgtEl>
                                        <p:attrNameLst>
                                          <p:attrName>style.visibility</p:attrName>
                                        </p:attrNameLst>
                                      </p:cBhvr>
                                      <p:to>
                                        <p:strVal val="visible"/>
                                      </p:to>
                                    </p:set>
                                  </p:childTnLst>
                                </p:cTn>
                              </p:par>
                              <p:par>
                                <p:cTn id="131" presetID="1" presetClass="entr" presetSubtype="0" fill="hold" grpId="0" nodeType="withEffect">
                                  <p:stCondLst>
                                    <p:cond delay="0"/>
                                  </p:stCondLst>
                                  <p:childTnLst>
                                    <p:set>
                                      <p:cBhvr>
                                        <p:cTn id="132" dur="1" fill="hold">
                                          <p:stCondLst>
                                            <p:cond delay="0"/>
                                          </p:stCondLst>
                                        </p:cTn>
                                        <p:tgtEl>
                                          <p:spTgt spid="258"/>
                                        </p:tgtEl>
                                        <p:attrNameLst>
                                          <p:attrName>style.visibility</p:attrName>
                                        </p:attrNameLst>
                                      </p:cBhvr>
                                      <p:to>
                                        <p:strVal val="visible"/>
                                      </p:to>
                                    </p:set>
                                  </p:childTnLst>
                                </p:cTn>
                              </p:par>
                              <p:par>
                                <p:cTn id="133" presetID="1" presetClass="entr" presetSubtype="0" fill="hold" grpId="0" nodeType="withEffect">
                                  <p:stCondLst>
                                    <p:cond delay="0"/>
                                  </p:stCondLst>
                                  <p:childTnLst>
                                    <p:set>
                                      <p:cBhvr>
                                        <p:cTn id="134" dur="1" fill="hold">
                                          <p:stCondLst>
                                            <p:cond delay="0"/>
                                          </p:stCondLst>
                                        </p:cTn>
                                        <p:tgtEl>
                                          <p:spTgt spid="259"/>
                                        </p:tgtEl>
                                        <p:attrNameLst>
                                          <p:attrName>style.visibility</p:attrName>
                                        </p:attrNameLst>
                                      </p:cBhvr>
                                      <p:to>
                                        <p:strVal val="visible"/>
                                      </p:to>
                                    </p:set>
                                  </p:childTnLst>
                                </p:cTn>
                              </p:par>
                              <p:par>
                                <p:cTn id="135" presetID="1" presetClass="entr" presetSubtype="0" fill="hold" nodeType="withEffect">
                                  <p:stCondLst>
                                    <p:cond delay="0"/>
                                  </p:stCondLst>
                                  <p:childTnLst>
                                    <p:set>
                                      <p:cBhvr>
                                        <p:cTn id="136" dur="1" fill="hold">
                                          <p:stCondLst>
                                            <p:cond delay="0"/>
                                          </p:stCondLst>
                                        </p:cTn>
                                        <p:tgtEl>
                                          <p:spTgt spid="260"/>
                                        </p:tgtEl>
                                        <p:attrNameLst>
                                          <p:attrName>style.visibility</p:attrName>
                                        </p:attrNameLst>
                                      </p:cBhvr>
                                      <p:to>
                                        <p:strVal val="visible"/>
                                      </p:to>
                                    </p:set>
                                  </p:childTnLst>
                                </p:cTn>
                              </p:par>
                              <p:par>
                                <p:cTn id="137" presetID="1" presetClass="entr" presetSubtype="0" fill="hold" grpId="0" nodeType="withEffect">
                                  <p:stCondLst>
                                    <p:cond delay="0"/>
                                  </p:stCondLst>
                                  <p:childTnLst>
                                    <p:set>
                                      <p:cBhvr>
                                        <p:cTn id="138" dur="1" fill="hold">
                                          <p:stCondLst>
                                            <p:cond delay="0"/>
                                          </p:stCondLst>
                                        </p:cTn>
                                        <p:tgtEl>
                                          <p:spTgt spid="261"/>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262"/>
                                        </p:tgtEl>
                                        <p:attrNameLst>
                                          <p:attrName>style.visibility</p:attrName>
                                        </p:attrNameLst>
                                      </p:cBhvr>
                                      <p:to>
                                        <p:strVal val="visible"/>
                                      </p:to>
                                    </p:set>
                                  </p:childTnLst>
                                </p:cTn>
                              </p:par>
                              <p:par>
                                <p:cTn id="141" presetID="1" presetClass="entr" presetSubtype="0" fill="hold" grpId="0" nodeType="withEffect">
                                  <p:stCondLst>
                                    <p:cond delay="0"/>
                                  </p:stCondLst>
                                  <p:childTnLst>
                                    <p:set>
                                      <p:cBhvr>
                                        <p:cTn id="142" dur="1" fill="hold">
                                          <p:stCondLst>
                                            <p:cond delay="0"/>
                                          </p:stCondLst>
                                        </p:cTn>
                                        <p:tgtEl>
                                          <p:spTgt spid="263"/>
                                        </p:tgtEl>
                                        <p:attrNameLst>
                                          <p:attrName>style.visibility</p:attrName>
                                        </p:attrNameLst>
                                      </p:cBhvr>
                                      <p:to>
                                        <p:strVal val="visible"/>
                                      </p:to>
                                    </p:set>
                                  </p:childTnLst>
                                </p:cTn>
                              </p:par>
                              <p:par>
                                <p:cTn id="143" presetID="1" presetClass="entr" presetSubtype="0" fill="hold" nodeType="withEffect">
                                  <p:stCondLst>
                                    <p:cond delay="0"/>
                                  </p:stCondLst>
                                  <p:childTnLst>
                                    <p:set>
                                      <p:cBhvr>
                                        <p:cTn id="144" dur="1" fill="hold">
                                          <p:stCondLst>
                                            <p:cond delay="0"/>
                                          </p:stCondLst>
                                        </p:cTn>
                                        <p:tgtEl>
                                          <p:spTgt spid="264"/>
                                        </p:tgtEl>
                                        <p:attrNameLst>
                                          <p:attrName>style.visibility</p:attrName>
                                        </p:attrNameLst>
                                      </p:cBhvr>
                                      <p:to>
                                        <p:strVal val="visible"/>
                                      </p:to>
                                    </p:set>
                                  </p:childTnLst>
                                </p:cTn>
                              </p:par>
                              <p:par>
                                <p:cTn id="145" presetID="1" presetClass="entr" presetSubtype="0" fill="hold" grpId="0" nodeType="withEffect">
                                  <p:stCondLst>
                                    <p:cond delay="0"/>
                                  </p:stCondLst>
                                  <p:childTnLst>
                                    <p:set>
                                      <p:cBhvr>
                                        <p:cTn id="146" dur="1" fill="hold">
                                          <p:stCondLst>
                                            <p:cond delay="0"/>
                                          </p:stCondLst>
                                        </p:cTn>
                                        <p:tgtEl>
                                          <p:spTgt spid="265"/>
                                        </p:tgtEl>
                                        <p:attrNameLst>
                                          <p:attrName>style.visibility</p:attrName>
                                        </p:attrNameLst>
                                      </p:cBhvr>
                                      <p:to>
                                        <p:strVal val="visible"/>
                                      </p:to>
                                    </p:set>
                                  </p:childTnLst>
                                </p:cTn>
                              </p:par>
                              <p:par>
                                <p:cTn id="147" presetID="1" presetClass="entr" presetSubtype="0" fill="hold" grpId="0" nodeType="withEffect">
                                  <p:stCondLst>
                                    <p:cond delay="0"/>
                                  </p:stCondLst>
                                  <p:childTnLst>
                                    <p:set>
                                      <p:cBhvr>
                                        <p:cTn id="148" dur="1" fill="hold">
                                          <p:stCondLst>
                                            <p:cond delay="0"/>
                                          </p:stCondLst>
                                        </p:cTn>
                                        <p:tgtEl>
                                          <p:spTgt spid="266"/>
                                        </p:tgtEl>
                                        <p:attrNameLst>
                                          <p:attrName>style.visibility</p:attrName>
                                        </p:attrNameLst>
                                      </p:cBhvr>
                                      <p:to>
                                        <p:strVal val="visible"/>
                                      </p:to>
                                    </p:set>
                                  </p:childTnLst>
                                </p:cTn>
                              </p:par>
                              <p:par>
                                <p:cTn id="149" presetID="1" presetClass="entr" presetSubtype="0" fill="hold" grpId="0" nodeType="withEffect">
                                  <p:stCondLst>
                                    <p:cond delay="0"/>
                                  </p:stCondLst>
                                  <p:childTnLst>
                                    <p:set>
                                      <p:cBhvr>
                                        <p:cTn id="150" dur="1" fill="hold">
                                          <p:stCondLst>
                                            <p:cond delay="0"/>
                                          </p:stCondLst>
                                        </p:cTn>
                                        <p:tgtEl>
                                          <p:spTgt spid="267"/>
                                        </p:tgtEl>
                                        <p:attrNameLst>
                                          <p:attrName>style.visibility</p:attrName>
                                        </p:attrNameLst>
                                      </p:cBhvr>
                                      <p:to>
                                        <p:strVal val="visible"/>
                                      </p:to>
                                    </p:set>
                                  </p:childTnLst>
                                </p:cTn>
                              </p:par>
                              <p:par>
                                <p:cTn id="151" presetID="1" presetClass="entr" presetSubtype="0" fill="hold" nodeType="withEffect">
                                  <p:stCondLst>
                                    <p:cond delay="0"/>
                                  </p:stCondLst>
                                  <p:childTnLst>
                                    <p:set>
                                      <p:cBhvr>
                                        <p:cTn id="152" dur="1" fill="hold">
                                          <p:stCondLst>
                                            <p:cond delay="0"/>
                                          </p:stCondLst>
                                        </p:cTn>
                                        <p:tgtEl>
                                          <p:spTgt spid="268"/>
                                        </p:tgtEl>
                                        <p:attrNameLst>
                                          <p:attrName>style.visibility</p:attrName>
                                        </p:attrNameLst>
                                      </p:cBhvr>
                                      <p:to>
                                        <p:strVal val="visible"/>
                                      </p:to>
                                    </p:set>
                                  </p:childTnLst>
                                </p:cTn>
                              </p:par>
                              <p:par>
                                <p:cTn id="153" presetID="1" presetClass="entr" presetSubtype="0" fill="hold" grpId="0" nodeType="withEffect">
                                  <p:stCondLst>
                                    <p:cond delay="0"/>
                                  </p:stCondLst>
                                  <p:childTnLst>
                                    <p:set>
                                      <p:cBhvr>
                                        <p:cTn id="154" dur="1" fill="hold">
                                          <p:stCondLst>
                                            <p:cond delay="0"/>
                                          </p:stCondLst>
                                        </p:cTn>
                                        <p:tgtEl>
                                          <p:spTgt spid="269"/>
                                        </p:tgtEl>
                                        <p:attrNameLst>
                                          <p:attrName>style.visibility</p:attrName>
                                        </p:attrNameLst>
                                      </p:cBhvr>
                                      <p:to>
                                        <p:strVal val="visible"/>
                                      </p:to>
                                    </p:set>
                                  </p:childTnLst>
                                </p:cTn>
                              </p:par>
                              <p:par>
                                <p:cTn id="155" presetID="1" presetClass="entr" presetSubtype="0" fill="hold" grpId="0" nodeType="withEffect">
                                  <p:stCondLst>
                                    <p:cond delay="0"/>
                                  </p:stCondLst>
                                  <p:childTnLst>
                                    <p:set>
                                      <p:cBhvr>
                                        <p:cTn id="156" dur="1" fill="hold">
                                          <p:stCondLst>
                                            <p:cond delay="0"/>
                                          </p:stCondLst>
                                        </p:cTn>
                                        <p:tgtEl>
                                          <p:spTgt spid="270"/>
                                        </p:tgtEl>
                                        <p:attrNameLst>
                                          <p:attrName>style.visibility</p:attrName>
                                        </p:attrNameLst>
                                      </p:cBhvr>
                                      <p:to>
                                        <p:strVal val="visible"/>
                                      </p:to>
                                    </p:set>
                                  </p:childTnLst>
                                </p:cTn>
                              </p:par>
                              <p:par>
                                <p:cTn id="157" presetID="1" presetClass="entr" presetSubtype="0" fill="hold" grpId="0" nodeType="withEffect">
                                  <p:stCondLst>
                                    <p:cond delay="0"/>
                                  </p:stCondLst>
                                  <p:childTnLst>
                                    <p:set>
                                      <p:cBhvr>
                                        <p:cTn id="158" dur="1" fill="hold">
                                          <p:stCondLst>
                                            <p:cond delay="0"/>
                                          </p:stCondLst>
                                        </p:cTn>
                                        <p:tgtEl>
                                          <p:spTgt spid="271"/>
                                        </p:tgtEl>
                                        <p:attrNameLst>
                                          <p:attrName>style.visibility</p:attrName>
                                        </p:attrNameLst>
                                      </p:cBhvr>
                                      <p:to>
                                        <p:strVal val="visible"/>
                                      </p:to>
                                    </p:set>
                                  </p:childTnLst>
                                </p:cTn>
                              </p:par>
                              <p:par>
                                <p:cTn id="159" presetID="1" presetClass="entr" presetSubtype="0" fill="hold" nodeType="withEffect">
                                  <p:stCondLst>
                                    <p:cond delay="0"/>
                                  </p:stCondLst>
                                  <p:childTnLst>
                                    <p:set>
                                      <p:cBhvr>
                                        <p:cTn id="160" dur="1" fill="hold">
                                          <p:stCondLst>
                                            <p:cond delay="0"/>
                                          </p:stCondLst>
                                        </p:cTn>
                                        <p:tgtEl>
                                          <p:spTgt spid="272"/>
                                        </p:tgtEl>
                                        <p:attrNameLst>
                                          <p:attrName>style.visibility</p:attrName>
                                        </p:attrNameLst>
                                      </p:cBhvr>
                                      <p:to>
                                        <p:strVal val="visible"/>
                                      </p:to>
                                    </p:set>
                                  </p:childTnLst>
                                </p:cTn>
                              </p:par>
                              <p:par>
                                <p:cTn id="161" presetID="1" presetClass="entr" presetSubtype="0" fill="hold" grpId="0" nodeType="withEffect">
                                  <p:stCondLst>
                                    <p:cond delay="0"/>
                                  </p:stCondLst>
                                  <p:childTnLst>
                                    <p:set>
                                      <p:cBhvr>
                                        <p:cTn id="162" dur="1" fill="hold">
                                          <p:stCondLst>
                                            <p:cond delay="0"/>
                                          </p:stCondLst>
                                        </p:cTn>
                                        <p:tgtEl>
                                          <p:spTgt spid="273"/>
                                        </p:tgtEl>
                                        <p:attrNameLst>
                                          <p:attrName>style.visibility</p:attrName>
                                        </p:attrNameLst>
                                      </p:cBhvr>
                                      <p:to>
                                        <p:strVal val="visible"/>
                                      </p:to>
                                    </p:set>
                                  </p:childTnLst>
                                </p:cTn>
                              </p:par>
                              <p:par>
                                <p:cTn id="163" presetID="1" presetClass="entr" presetSubtype="0" fill="hold" grpId="0" nodeType="withEffect">
                                  <p:stCondLst>
                                    <p:cond delay="0"/>
                                  </p:stCondLst>
                                  <p:childTnLst>
                                    <p:set>
                                      <p:cBhvr>
                                        <p:cTn id="164" dur="1" fill="hold">
                                          <p:stCondLst>
                                            <p:cond delay="0"/>
                                          </p:stCondLst>
                                        </p:cTn>
                                        <p:tgtEl>
                                          <p:spTgt spid="274"/>
                                        </p:tgtEl>
                                        <p:attrNameLst>
                                          <p:attrName>style.visibility</p:attrName>
                                        </p:attrNameLst>
                                      </p:cBhvr>
                                      <p:to>
                                        <p:strVal val="visible"/>
                                      </p:to>
                                    </p:set>
                                  </p:childTnLst>
                                </p:cTn>
                              </p:par>
                              <p:par>
                                <p:cTn id="165" presetID="1" presetClass="entr" presetSubtype="0" fill="hold" grpId="0" nodeType="withEffect">
                                  <p:stCondLst>
                                    <p:cond delay="0"/>
                                  </p:stCondLst>
                                  <p:childTnLst>
                                    <p:set>
                                      <p:cBhvr>
                                        <p:cTn id="166" dur="1" fill="hold">
                                          <p:stCondLst>
                                            <p:cond delay="0"/>
                                          </p:stCondLst>
                                        </p:cTn>
                                        <p:tgtEl>
                                          <p:spTgt spid="275"/>
                                        </p:tgtEl>
                                        <p:attrNameLst>
                                          <p:attrName>style.visibility</p:attrName>
                                        </p:attrNameLst>
                                      </p:cBhvr>
                                      <p:to>
                                        <p:strVal val="visible"/>
                                      </p:to>
                                    </p:set>
                                  </p:childTnLst>
                                </p:cTn>
                              </p:par>
                              <p:par>
                                <p:cTn id="167" presetID="1" presetClass="entr" presetSubtype="0" fill="hold" nodeType="withEffect">
                                  <p:stCondLst>
                                    <p:cond delay="0"/>
                                  </p:stCondLst>
                                  <p:childTnLst>
                                    <p:set>
                                      <p:cBhvr>
                                        <p:cTn id="168" dur="1" fill="hold">
                                          <p:stCondLst>
                                            <p:cond delay="0"/>
                                          </p:stCondLst>
                                        </p:cTn>
                                        <p:tgtEl>
                                          <p:spTgt spid="276"/>
                                        </p:tgtEl>
                                        <p:attrNameLst>
                                          <p:attrName>style.visibility</p:attrName>
                                        </p:attrNameLst>
                                      </p:cBhvr>
                                      <p:to>
                                        <p:strVal val="visible"/>
                                      </p:to>
                                    </p:set>
                                  </p:childTnLst>
                                </p:cTn>
                              </p:par>
                              <p:par>
                                <p:cTn id="169" presetID="1" presetClass="entr" presetSubtype="0" fill="hold" grpId="0" nodeType="withEffect">
                                  <p:stCondLst>
                                    <p:cond delay="0"/>
                                  </p:stCondLst>
                                  <p:childTnLst>
                                    <p:set>
                                      <p:cBhvr>
                                        <p:cTn id="170" dur="1" fill="hold">
                                          <p:stCondLst>
                                            <p:cond delay="0"/>
                                          </p:stCondLst>
                                        </p:cTn>
                                        <p:tgtEl>
                                          <p:spTgt spid="277"/>
                                        </p:tgtEl>
                                        <p:attrNameLst>
                                          <p:attrName>style.visibility</p:attrName>
                                        </p:attrNameLst>
                                      </p:cBhvr>
                                      <p:to>
                                        <p:strVal val="visible"/>
                                      </p:to>
                                    </p:set>
                                  </p:childTnLst>
                                </p:cTn>
                              </p:par>
                              <p:par>
                                <p:cTn id="171" presetID="1" presetClass="entr" presetSubtype="0" fill="hold" grpId="0" nodeType="withEffect">
                                  <p:stCondLst>
                                    <p:cond delay="0"/>
                                  </p:stCondLst>
                                  <p:childTnLst>
                                    <p:set>
                                      <p:cBhvr>
                                        <p:cTn id="172" dur="1" fill="hold">
                                          <p:stCondLst>
                                            <p:cond delay="0"/>
                                          </p:stCondLst>
                                        </p:cTn>
                                        <p:tgtEl>
                                          <p:spTgt spid="278"/>
                                        </p:tgtEl>
                                        <p:attrNameLst>
                                          <p:attrName>style.visibility</p:attrName>
                                        </p:attrNameLst>
                                      </p:cBhvr>
                                      <p:to>
                                        <p:strVal val="visible"/>
                                      </p:to>
                                    </p:set>
                                  </p:childTnLst>
                                </p:cTn>
                              </p:par>
                              <p:par>
                                <p:cTn id="173" presetID="1" presetClass="entr" presetSubtype="0" fill="hold" grpId="0" nodeType="withEffect">
                                  <p:stCondLst>
                                    <p:cond delay="0"/>
                                  </p:stCondLst>
                                  <p:childTnLst>
                                    <p:set>
                                      <p:cBhvr>
                                        <p:cTn id="174" dur="1" fill="hold">
                                          <p:stCondLst>
                                            <p:cond delay="0"/>
                                          </p:stCondLst>
                                        </p:cTn>
                                        <p:tgtEl>
                                          <p:spTgt spid="279"/>
                                        </p:tgtEl>
                                        <p:attrNameLst>
                                          <p:attrName>style.visibility</p:attrName>
                                        </p:attrNameLst>
                                      </p:cBhvr>
                                      <p:to>
                                        <p:strVal val="visible"/>
                                      </p:to>
                                    </p:set>
                                  </p:childTnLst>
                                </p:cTn>
                              </p:par>
                              <p:par>
                                <p:cTn id="175" presetID="1" presetClass="entr" presetSubtype="0" fill="hold" nodeType="withEffect">
                                  <p:stCondLst>
                                    <p:cond delay="0"/>
                                  </p:stCondLst>
                                  <p:childTnLst>
                                    <p:set>
                                      <p:cBhvr>
                                        <p:cTn id="176" dur="1" fill="hold">
                                          <p:stCondLst>
                                            <p:cond delay="0"/>
                                          </p:stCondLst>
                                        </p:cTn>
                                        <p:tgtEl>
                                          <p:spTgt spid="280"/>
                                        </p:tgtEl>
                                        <p:attrNameLst>
                                          <p:attrName>style.visibility</p:attrName>
                                        </p:attrNameLst>
                                      </p:cBhvr>
                                      <p:to>
                                        <p:strVal val="visible"/>
                                      </p:to>
                                    </p:set>
                                  </p:childTnLst>
                                </p:cTn>
                              </p:par>
                              <p:par>
                                <p:cTn id="177" presetID="1" presetClass="entr" presetSubtype="0" fill="hold" grpId="0" nodeType="withEffect">
                                  <p:stCondLst>
                                    <p:cond delay="0"/>
                                  </p:stCondLst>
                                  <p:childTnLst>
                                    <p:set>
                                      <p:cBhvr>
                                        <p:cTn id="178" dur="1" fill="hold">
                                          <p:stCondLst>
                                            <p:cond delay="0"/>
                                          </p:stCondLst>
                                        </p:cTn>
                                        <p:tgtEl>
                                          <p:spTgt spid="281"/>
                                        </p:tgtEl>
                                        <p:attrNameLst>
                                          <p:attrName>style.visibility</p:attrName>
                                        </p:attrNameLst>
                                      </p:cBhvr>
                                      <p:to>
                                        <p:strVal val="visible"/>
                                      </p:to>
                                    </p:set>
                                  </p:childTnLst>
                                </p:cTn>
                              </p:par>
                              <p:par>
                                <p:cTn id="179" presetID="1" presetClass="entr" presetSubtype="0" fill="hold" grpId="0" nodeType="withEffect">
                                  <p:stCondLst>
                                    <p:cond delay="0"/>
                                  </p:stCondLst>
                                  <p:childTnLst>
                                    <p:set>
                                      <p:cBhvr>
                                        <p:cTn id="180" dur="1" fill="hold">
                                          <p:stCondLst>
                                            <p:cond delay="0"/>
                                          </p:stCondLst>
                                        </p:cTn>
                                        <p:tgtEl>
                                          <p:spTgt spid="282"/>
                                        </p:tgtEl>
                                        <p:attrNameLst>
                                          <p:attrName>style.visibility</p:attrName>
                                        </p:attrNameLst>
                                      </p:cBhvr>
                                      <p:to>
                                        <p:strVal val="visible"/>
                                      </p:to>
                                    </p:set>
                                  </p:childTnLst>
                                </p:cTn>
                              </p:par>
                              <p:par>
                                <p:cTn id="181" presetID="1" presetClass="entr" presetSubtype="0" fill="hold" grpId="0" nodeType="withEffect">
                                  <p:stCondLst>
                                    <p:cond delay="0"/>
                                  </p:stCondLst>
                                  <p:childTnLst>
                                    <p:set>
                                      <p:cBhvr>
                                        <p:cTn id="182" dur="1" fill="hold">
                                          <p:stCondLst>
                                            <p:cond delay="0"/>
                                          </p:stCondLst>
                                        </p:cTn>
                                        <p:tgtEl>
                                          <p:spTgt spid="283"/>
                                        </p:tgtEl>
                                        <p:attrNameLst>
                                          <p:attrName>style.visibility</p:attrName>
                                        </p:attrNameLst>
                                      </p:cBhvr>
                                      <p:to>
                                        <p:strVal val="visible"/>
                                      </p:to>
                                    </p:set>
                                  </p:childTnLst>
                                </p:cTn>
                              </p:par>
                              <p:par>
                                <p:cTn id="183" presetID="1" presetClass="entr" presetSubtype="0" fill="hold" grpId="0" nodeType="withEffect">
                                  <p:stCondLst>
                                    <p:cond delay="0"/>
                                  </p:stCondLst>
                                  <p:childTnLst>
                                    <p:set>
                                      <p:cBhvr>
                                        <p:cTn id="184" dur="1" fill="hold">
                                          <p:stCondLst>
                                            <p:cond delay="0"/>
                                          </p:stCondLst>
                                        </p:cTn>
                                        <p:tgtEl>
                                          <p:spTgt spid="284"/>
                                        </p:tgtEl>
                                        <p:attrNameLst>
                                          <p:attrName>style.visibility</p:attrName>
                                        </p:attrNameLst>
                                      </p:cBhvr>
                                      <p:to>
                                        <p:strVal val="visible"/>
                                      </p:to>
                                    </p:set>
                                  </p:childTnLst>
                                </p:cTn>
                              </p:par>
                              <p:par>
                                <p:cTn id="185" presetID="1" presetClass="entr" presetSubtype="0" fill="hold" grpId="0" nodeType="withEffect">
                                  <p:stCondLst>
                                    <p:cond delay="0"/>
                                  </p:stCondLst>
                                  <p:childTnLst>
                                    <p:set>
                                      <p:cBhvr>
                                        <p:cTn id="186" dur="1" fill="hold">
                                          <p:stCondLst>
                                            <p:cond delay="0"/>
                                          </p:stCondLst>
                                        </p:cTn>
                                        <p:tgtEl>
                                          <p:spTgt spid="285"/>
                                        </p:tgtEl>
                                        <p:attrNameLst>
                                          <p:attrName>style.visibility</p:attrName>
                                        </p:attrNameLst>
                                      </p:cBhvr>
                                      <p:to>
                                        <p:strVal val="visible"/>
                                      </p:to>
                                    </p:set>
                                  </p:childTnLst>
                                </p:cTn>
                              </p:par>
                              <p:par>
                                <p:cTn id="187" presetID="1" presetClass="entr" presetSubtype="0" fill="hold" grpId="0" nodeType="withEffect">
                                  <p:stCondLst>
                                    <p:cond delay="0"/>
                                  </p:stCondLst>
                                  <p:childTnLst>
                                    <p:set>
                                      <p:cBhvr>
                                        <p:cTn id="188" dur="1" fill="hold">
                                          <p:stCondLst>
                                            <p:cond delay="0"/>
                                          </p:stCondLst>
                                        </p:cTn>
                                        <p:tgtEl>
                                          <p:spTgt spid="286"/>
                                        </p:tgtEl>
                                        <p:attrNameLst>
                                          <p:attrName>style.visibility</p:attrName>
                                        </p:attrNameLst>
                                      </p:cBhvr>
                                      <p:to>
                                        <p:strVal val="visible"/>
                                      </p:to>
                                    </p:set>
                                  </p:childTnLst>
                                </p:cTn>
                              </p:par>
                              <p:par>
                                <p:cTn id="189" presetID="1" presetClass="entr" presetSubtype="0" fill="hold" grpId="0" nodeType="withEffect">
                                  <p:stCondLst>
                                    <p:cond delay="0"/>
                                  </p:stCondLst>
                                  <p:childTnLst>
                                    <p:set>
                                      <p:cBhvr>
                                        <p:cTn id="190" dur="1" fill="hold">
                                          <p:stCondLst>
                                            <p:cond delay="0"/>
                                          </p:stCondLst>
                                        </p:cTn>
                                        <p:tgtEl>
                                          <p:spTgt spid="2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 grpId="0"/>
      <p:bldP spid="193" grpId="0" animBg="1"/>
      <p:bldP spid="194" grpId="0" animBg="1"/>
      <p:bldP spid="195" grpId="0" animBg="1"/>
      <p:bldP spid="196" grpId="0" animBg="1"/>
      <p:bldP spid="197" grpId="0" animBg="1"/>
      <p:bldP spid="199" grpId="0"/>
      <p:bldP spid="200" grpId="0"/>
      <p:bldP spid="201" grpId="0" animBg="1"/>
      <p:bldP spid="203" grpId="0"/>
      <p:bldP spid="204" grpId="0"/>
      <p:bldP spid="205" grpId="0" animBg="1"/>
      <p:bldP spid="213" grpId="0"/>
      <p:bldP spid="214" grpId="0"/>
      <p:bldP spid="215" grpId="0" animBg="1"/>
      <p:bldP spid="217" grpId="0"/>
      <p:bldP spid="218" grpId="0"/>
      <p:bldP spid="219" grpId="0" animBg="1"/>
      <p:bldP spid="221" grpId="0"/>
      <p:bldP spid="222" grpId="0"/>
      <p:bldP spid="223" grpId="0" animBg="1"/>
      <p:bldP spid="225" grpId="0"/>
      <p:bldP spid="226" grpId="0"/>
      <p:bldP spid="227" grpId="0" animBg="1"/>
      <p:bldP spid="229" grpId="0"/>
      <p:bldP spid="230" grpId="0"/>
      <p:bldP spid="231" grpId="0" animBg="1"/>
      <p:bldP spid="233" grpId="0"/>
      <p:bldP spid="234" grpId="0"/>
      <p:bldP spid="235" grpId="0" animBg="1"/>
      <p:bldP spid="237" grpId="0"/>
      <p:bldP spid="238" grpId="0"/>
      <p:bldP spid="239" grpId="0" animBg="1"/>
      <p:bldP spid="241" grpId="0"/>
      <p:bldP spid="242" grpId="0"/>
      <p:bldP spid="243" grpId="0" animBg="1"/>
      <p:bldP spid="245" grpId="0"/>
      <p:bldP spid="246" grpId="0"/>
      <p:bldP spid="247" grpId="0" animBg="1"/>
      <p:bldP spid="249" grpId="0"/>
      <p:bldP spid="250" grpId="0"/>
      <p:bldP spid="251" grpId="0" animBg="1"/>
      <p:bldP spid="253" grpId="0"/>
      <p:bldP spid="254" grpId="0"/>
      <p:bldP spid="255" grpId="0" animBg="1"/>
      <p:bldP spid="257" grpId="0"/>
      <p:bldP spid="258" grpId="0"/>
      <p:bldP spid="259" grpId="0" animBg="1"/>
      <p:bldP spid="261" grpId="0"/>
      <p:bldP spid="262" grpId="0"/>
      <p:bldP spid="263" grpId="0" animBg="1"/>
      <p:bldP spid="265" grpId="0"/>
      <p:bldP spid="266" grpId="0"/>
      <p:bldP spid="267" grpId="0" animBg="1"/>
      <p:bldP spid="269" grpId="0"/>
      <p:bldP spid="270" grpId="0"/>
      <p:bldP spid="271" grpId="0" animBg="1"/>
      <p:bldP spid="273" grpId="0"/>
      <p:bldP spid="274" grpId="0"/>
      <p:bldP spid="275" grpId="0" animBg="1"/>
      <p:bldP spid="277" grpId="0"/>
      <p:bldP spid="278" grpId="0"/>
      <p:bldP spid="279" grpId="0" animBg="1"/>
      <p:bldP spid="281" grpId="0"/>
      <p:bldP spid="282" grpId="0"/>
      <p:bldP spid="283" grpId="0"/>
      <p:bldP spid="284" grpId="0"/>
      <p:bldP spid="285" grpId="0"/>
      <p:bldP spid="286" grpId="0"/>
      <p:bldP spid="28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pPr algn="l"/>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Examining NUMA</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67675391"/>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3: SQL Server Memory Management</a:t>
            </a:r>
          </a:p>
        </p:txBody>
      </p:sp>
    </p:spTree>
    <p:extLst>
      <p:ext uri="{BB962C8B-B14F-4D97-AF65-F5344CB8AC3E}">
        <p14:creationId xmlns:p14="http://schemas.microsoft.com/office/powerpoint/2010/main" val="2894004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pPr marL="0" indent="0">
              <a:buNone/>
            </a:pPr>
            <a:r>
              <a:rPr lang="en-US" dirty="0"/>
              <a:t>Understand SQL Server memory management</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p:cNvGrpSpPr/>
          <p:nvPr/>
        </p:nvGrpSpPr>
        <p:grpSpPr>
          <a:xfrm>
            <a:off x="1855962" y="1367268"/>
            <a:ext cx="8482396" cy="5058329"/>
            <a:chOff x="762000" y="1295400"/>
            <a:chExt cx="7620000" cy="4856684"/>
          </a:xfrm>
        </p:grpSpPr>
        <p:grpSp>
          <p:nvGrpSpPr>
            <p:cNvPr id="58" name="Group 57"/>
            <p:cNvGrpSpPr/>
            <p:nvPr/>
          </p:nvGrpSpPr>
          <p:grpSpPr>
            <a:xfrm>
              <a:off x="762000" y="1295400"/>
              <a:ext cx="7620000" cy="4856684"/>
              <a:chOff x="762000" y="1295400"/>
              <a:chExt cx="7620000" cy="4856684"/>
            </a:xfrm>
          </p:grpSpPr>
          <p:sp>
            <p:nvSpPr>
              <p:cNvPr id="61" name="Rounded Rectangle 60"/>
              <p:cNvSpPr/>
              <p:nvPr/>
            </p:nvSpPr>
            <p:spPr>
              <a:xfrm>
                <a:off x="762000" y="1295400"/>
                <a:ext cx="1515680" cy="878694"/>
              </a:xfrm>
              <a:prstGeom prst="round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rtlCol="0" anchor="ctr"/>
              <a:lstStyle/>
              <a:p>
                <a:pPr algn="ctr" defTabSz="914225" fontAlgn="base">
                  <a:defRPr/>
                </a:pPr>
                <a:r>
                  <a:rPr lang="en-US" sz="1200" kern="0">
                    <a:solidFill>
                      <a:srgbClr val="000000"/>
                    </a:solidFill>
                    <a:latin typeface="Segoe UI"/>
                    <a:ea typeface="Times New Roman"/>
                    <a:cs typeface="Times New Roman"/>
                  </a:rPr>
                  <a:t>Page Reservation</a:t>
                </a:r>
                <a:endParaRPr lang="en-US" sz="1200" kern="0">
                  <a:solidFill>
                    <a:prstClr val="black"/>
                  </a:solidFill>
                  <a:latin typeface="Times New Roman"/>
                  <a:ea typeface="Times New Roman"/>
                </a:endParaRPr>
              </a:p>
            </p:txBody>
          </p:sp>
          <p:sp>
            <p:nvSpPr>
              <p:cNvPr id="62" name="Rounded Rectangle 61"/>
              <p:cNvSpPr/>
              <p:nvPr/>
            </p:nvSpPr>
            <p:spPr>
              <a:xfrm>
                <a:off x="4137826" y="1295400"/>
                <a:ext cx="1446782" cy="878694"/>
              </a:xfrm>
              <a:prstGeom prst="round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rtlCol="0" anchor="ctr"/>
              <a:lstStyle/>
              <a:p>
                <a:pPr algn="ctr" defTabSz="914225" fontAlgn="base">
                  <a:defRPr/>
                </a:pPr>
                <a:r>
                  <a:rPr lang="en-US" sz="1200" kern="0">
                    <a:solidFill>
                      <a:srgbClr val="000000"/>
                    </a:solidFill>
                    <a:latin typeface="Segoe UI"/>
                    <a:ea typeface="Times New Roman"/>
                    <a:cs typeface="Times New Roman"/>
                  </a:rPr>
                  <a:t>Memory Objects</a:t>
                </a:r>
                <a:endParaRPr lang="en-US" sz="1200" kern="0">
                  <a:solidFill>
                    <a:prstClr val="black"/>
                  </a:solidFill>
                  <a:latin typeface="Times New Roman"/>
                  <a:ea typeface="Times New Roman"/>
                </a:endParaRPr>
              </a:p>
            </p:txBody>
          </p:sp>
          <p:sp>
            <p:nvSpPr>
              <p:cNvPr id="63" name="Rounded Rectangle 62"/>
              <p:cNvSpPr/>
              <p:nvPr/>
            </p:nvSpPr>
            <p:spPr>
              <a:xfrm>
                <a:off x="6470712" y="1295400"/>
                <a:ext cx="1377888" cy="878694"/>
              </a:xfrm>
              <a:prstGeom prst="round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rtlCol="0" anchor="ctr"/>
              <a:lstStyle/>
              <a:p>
                <a:pPr algn="ctr" defTabSz="914225" fontAlgn="base">
                  <a:defRPr/>
                </a:pPr>
                <a:r>
                  <a:rPr lang="en-US" sz="1200" kern="0">
                    <a:solidFill>
                      <a:srgbClr val="000000"/>
                    </a:solidFill>
                    <a:latin typeface="Segoe UI"/>
                    <a:ea typeface="Times New Roman"/>
                    <a:cs typeface="Times New Roman"/>
                  </a:rPr>
                  <a:t>CLR</a:t>
                </a:r>
                <a:endParaRPr lang="en-US" sz="1200" kern="0">
                  <a:solidFill>
                    <a:prstClr val="black"/>
                  </a:solidFill>
                  <a:latin typeface="Times New Roman"/>
                  <a:ea typeface="Times New Roman"/>
                </a:endParaRPr>
              </a:p>
            </p:txBody>
          </p:sp>
          <p:sp>
            <p:nvSpPr>
              <p:cNvPr id="64" name="Rounded Rectangle 63"/>
              <p:cNvSpPr/>
              <p:nvPr/>
            </p:nvSpPr>
            <p:spPr>
              <a:xfrm>
                <a:off x="2133600" y="2613441"/>
                <a:ext cx="2273515" cy="878694"/>
              </a:xfrm>
              <a:prstGeom prst="roundRect">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225" fontAlgn="base">
                  <a:defRPr/>
                </a:pPr>
                <a:r>
                  <a:rPr lang="en-US" sz="1200" kern="0">
                    <a:solidFill>
                      <a:srgbClr val="FFFFFF"/>
                    </a:solidFill>
                    <a:latin typeface="Segoe UI"/>
                    <a:ea typeface="Times New Roman"/>
                    <a:cs typeface="Times New Roman"/>
                  </a:rPr>
                  <a:t>Any size page </a:t>
                </a:r>
                <a:endParaRPr lang="en-US" sz="1200" kern="0">
                  <a:solidFill>
                    <a:prstClr val="white"/>
                  </a:solidFill>
                  <a:latin typeface="Times New Roman"/>
                  <a:ea typeface="Times New Roman"/>
                </a:endParaRPr>
              </a:p>
              <a:p>
                <a:pPr algn="ctr" defTabSz="914225" fontAlgn="base">
                  <a:defRPr/>
                </a:pPr>
                <a:r>
                  <a:rPr lang="en-US" sz="1200" kern="0">
                    <a:solidFill>
                      <a:srgbClr val="FFFFFF"/>
                    </a:solidFill>
                    <a:latin typeface="Segoe UI"/>
                    <a:ea typeface="Times New Roman"/>
                    <a:cs typeface="Times New Roman"/>
                  </a:rPr>
                  <a:t>Allocator</a:t>
                </a:r>
                <a:endParaRPr lang="en-US" sz="1200" kern="0">
                  <a:solidFill>
                    <a:prstClr val="white"/>
                  </a:solidFill>
                  <a:latin typeface="Times New Roman"/>
                  <a:ea typeface="Times New Roman"/>
                </a:endParaRPr>
              </a:p>
            </p:txBody>
          </p:sp>
          <p:sp>
            <p:nvSpPr>
              <p:cNvPr id="65" name="Rounded Rectangle 64"/>
              <p:cNvSpPr/>
              <p:nvPr/>
            </p:nvSpPr>
            <p:spPr>
              <a:xfrm>
                <a:off x="1382051" y="3931481"/>
                <a:ext cx="3529659" cy="878694"/>
              </a:xfrm>
              <a:prstGeom prst="roundRect">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225" fontAlgn="base">
                  <a:defRPr/>
                </a:pPr>
                <a:r>
                  <a:rPr lang="en-US" sz="1200" kern="0">
                    <a:solidFill>
                      <a:srgbClr val="FFFFFF"/>
                    </a:solidFill>
                    <a:latin typeface="Segoe UI"/>
                    <a:ea typeface="Times New Roman"/>
                    <a:cs typeface="Times New Roman"/>
                  </a:rPr>
                  <a:t>Memory Manager</a:t>
                </a:r>
                <a:endParaRPr lang="en-US" sz="1200" kern="0">
                  <a:solidFill>
                    <a:prstClr val="white"/>
                  </a:solidFill>
                  <a:latin typeface="Times New Roman"/>
                  <a:ea typeface="Times New Roman"/>
                </a:endParaRPr>
              </a:p>
            </p:txBody>
          </p:sp>
          <p:sp>
            <p:nvSpPr>
              <p:cNvPr id="66" name="Rounded Rectangle 65"/>
              <p:cNvSpPr/>
              <p:nvPr/>
            </p:nvSpPr>
            <p:spPr>
              <a:xfrm>
                <a:off x="2504045" y="1295400"/>
                <a:ext cx="1427098" cy="878694"/>
              </a:xfrm>
              <a:prstGeom prst="roundRect">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225" fontAlgn="base">
                  <a:defRPr/>
                </a:pPr>
                <a:r>
                  <a:rPr lang="en-US" sz="1200" kern="0">
                    <a:solidFill>
                      <a:srgbClr val="FFFFFF"/>
                    </a:solidFill>
                    <a:latin typeface="Segoe UI"/>
                    <a:ea typeface="Times New Roman"/>
                    <a:cs typeface="Times New Roman"/>
                  </a:rPr>
                  <a:t>Buffer Pool</a:t>
                </a:r>
                <a:endParaRPr lang="en-US" sz="1200" kern="0">
                  <a:solidFill>
                    <a:prstClr val="white"/>
                  </a:solidFill>
                  <a:latin typeface="Times New Roman"/>
                  <a:ea typeface="Times New Roman"/>
                </a:endParaRPr>
              </a:p>
            </p:txBody>
          </p:sp>
          <p:sp>
            <p:nvSpPr>
              <p:cNvPr id="67" name="Rounded Rectangle 66"/>
              <p:cNvSpPr/>
              <p:nvPr/>
            </p:nvSpPr>
            <p:spPr>
              <a:xfrm>
                <a:off x="5410200" y="2626506"/>
                <a:ext cx="1690644" cy="878694"/>
              </a:xfrm>
              <a:prstGeom prst="round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rtlCol="0" anchor="ctr"/>
              <a:lstStyle/>
              <a:p>
                <a:pPr algn="ctr" defTabSz="914225" fontAlgn="base">
                  <a:defRPr/>
                </a:pPr>
                <a:r>
                  <a:rPr lang="en-US" sz="1200" kern="0">
                    <a:solidFill>
                      <a:srgbClr val="000000"/>
                    </a:solidFill>
                    <a:latin typeface="Segoe UI"/>
                    <a:ea typeface="Times New Roman"/>
                    <a:cs typeface="Times New Roman"/>
                  </a:rPr>
                  <a:t>VAS Allocator</a:t>
                </a:r>
                <a:endParaRPr lang="en-US" sz="1200" kern="0">
                  <a:solidFill>
                    <a:prstClr val="black"/>
                  </a:solidFill>
                  <a:latin typeface="Times New Roman"/>
                  <a:ea typeface="Times New Roman"/>
                </a:endParaRPr>
              </a:p>
            </p:txBody>
          </p:sp>
          <p:cxnSp>
            <p:nvCxnSpPr>
              <p:cNvPr id="68" name="Straight Connector 67"/>
              <p:cNvCxnSpPr/>
              <p:nvPr/>
            </p:nvCxnSpPr>
            <p:spPr>
              <a:xfrm>
                <a:off x="2070995" y="2174094"/>
                <a:ext cx="344472" cy="439347"/>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69" name="Straight Connector 68"/>
              <p:cNvCxnSpPr/>
              <p:nvPr/>
            </p:nvCxnSpPr>
            <p:spPr>
              <a:xfrm flipH="1">
                <a:off x="3810000" y="2174094"/>
                <a:ext cx="672298" cy="439347"/>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0" name="Straight Connector 69"/>
              <p:cNvCxnSpPr/>
              <p:nvPr/>
            </p:nvCxnSpPr>
            <p:spPr>
              <a:xfrm>
                <a:off x="3242199" y="3492134"/>
                <a:ext cx="0" cy="439347"/>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1" name="Straight Connector 70"/>
              <p:cNvCxnSpPr>
                <a:stCxn id="83" idx="2"/>
              </p:cNvCxnSpPr>
              <p:nvPr/>
            </p:nvCxnSpPr>
            <p:spPr>
              <a:xfrm>
                <a:off x="7536678" y="4800600"/>
                <a:ext cx="0" cy="758934"/>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tailEnd type="triangle"/>
              </a:ln>
              <a:effectLst>
                <a:outerShdw blurRad="40000" dist="20000" dir="5400000" rotWithShape="0">
                  <a:srgbClr val="000000">
                    <a:alpha val="38000"/>
                  </a:srgbClr>
                </a:outerShdw>
              </a:effectLst>
            </p:spPr>
          </p:cxnSp>
          <p:cxnSp>
            <p:nvCxnSpPr>
              <p:cNvPr id="72" name="Straight Connector 71"/>
              <p:cNvCxnSpPr>
                <a:stCxn id="63" idx="2"/>
                <a:endCxn id="67" idx="0"/>
              </p:cNvCxnSpPr>
              <p:nvPr/>
            </p:nvCxnSpPr>
            <p:spPr>
              <a:xfrm flipH="1">
                <a:off x="6255522" y="2174094"/>
                <a:ext cx="904134" cy="452412"/>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3" name="Straight Connector 72"/>
              <p:cNvCxnSpPr/>
              <p:nvPr/>
            </p:nvCxnSpPr>
            <p:spPr>
              <a:xfrm flipH="1">
                <a:off x="914400" y="4810175"/>
                <a:ext cx="1476464" cy="746562"/>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4" name="Straight Connector 73"/>
              <p:cNvCxnSpPr/>
              <p:nvPr/>
            </p:nvCxnSpPr>
            <p:spPr>
              <a:xfrm>
                <a:off x="4648200" y="4810175"/>
                <a:ext cx="940905" cy="749359"/>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5" name="Straight Connector 74"/>
              <p:cNvCxnSpPr/>
              <p:nvPr/>
            </p:nvCxnSpPr>
            <p:spPr>
              <a:xfrm>
                <a:off x="3242199" y="2174094"/>
                <a:ext cx="0" cy="439347"/>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6" name="Straight Connector 75"/>
              <p:cNvCxnSpPr/>
              <p:nvPr/>
            </p:nvCxnSpPr>
            <p:spPr>
              <a:xfrm>
                <a:off x="2277680" y="1734747"/>
                <a:ext cx="226366" cy="0"/>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7" name="Straight Connector 76"/>
              <p:cNvCxnSpPr/>
              <p:nvPr/>
            </p:nvCxnSpPr>
            <p:spPr>
              <a:xfrm>
                <a:off x="914400" y="5553941"/>
                <a:ext cx="7010400" cy="5593"/>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8" name="Straight Connector 77"/>
              <p:cNvCxnSpPr/>
              <p:nvPr/>
            </p:nvCxnSpPr>
            <p:spPr>
              <a:xfrm>
                <a:off x="914400" y="5358197"/>
                <a:ext cx="0" cy="391488"/>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9" name="Straight Connector 78"/>
              <p:cNvCxnSpPr/>
              <p:nvPr/>
            </p:nvCxnSpPr>
            <p:spPr>
              <a:xfrm>
                <a:off x="7924800" y="5358197"/>
                <a:ext cx="0" cy="391488"/>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80" name="Straight Connector 79"/>
              <p:cNvCxnSpPr/>
              <p:nvPr/>
            </p:nvCxnSpPr>
            <p:spPr>
              <a:xfrm>
                <a:off x="5589105" y="5358197"/>
                <a:ext cx="0" cy="391488"/>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sp>
            <p:nvSpPr>
              <p:cNvPr id="81" name="TextBox 51"/>
              <p:cNvSpPr txBox="1"/>
              <p:nvPr/>
            </p:nvSpPr>
            <p:spPr>
              <a:xfrm>
                <a:off x="5589105" y="5710535"/>
                <a:ext cx="2335695" cy="441549"/>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wrap="square" rtlCol="0">
                <a:spAutoFit/>
              </a:bodyPr>
              <a:lstStyle/>
              <a:p>
                <a:pPr algn="ctr" defTabSz="914225" fontAlgn="base">
                  <a:defRPr/>
                </a:pPr>
                <a:r>
                  <a:rPr lang="en-US" sz="1200" kern="0">
                    <a:solidFill>
                      <a:srgbClr val="000000"/>
                    </a:solidFill>
                    <a:latin typeface="Segoe UI"/>
                    <a:ea typeface="Times New Roman"/>
                    <a:cs typeface="Times New Roman"/>
                  </a:rPr>
                  <a:t>Direct OS Reservation</a:t>
                </a:r>
                <a:br>
                  <a:rPr lang="en-US" sz="1200" kern="0">
                    <a:solidFill>
                      <a:srgbClr val="000000"/>
                    </a:solidFill>
                    <a:latin typeface="Segoe UI"/>
                    <a:ea typeface="Times New Roman"/>
                    <a:cs typeface="Times New Roman"/>
                  </a:rPr>
                </a:br>
                <a:endParaRPr lang="en-US" sz="1200" kern="0">
                  <a:solidFill>
                    <a:prstClr val="black"/>
                  </a:solidFill>
                  <a:latin typeface="Times New Roman"/>
                  <a:ea typeface="Times New Roman"/>
                </a:endParaRPr>
              </a:p>
            </p:txBody>
          </p:sp>
          <p:sp>
            <p:nvSpPr>
              <p:cNvPr id="82" name="TextBox 51"/>
              <p:cNvSpPr txBox="1"/>
              <p:nvPr/>
            </p:nvSpPr>
            <p:spPr>
              <a:xfrm>
                <a:off x="914400" y="5710534"/>
                <a:ext cx="4674705" cy="441549"/>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wrap="square" rtlCol="0">
                <a:spAutoFit/>
              </a:bodyPr>
              <a:lstStyle/>
              <a:p>
                <a:pPr algn="ctr" defTabSz="914225" fontAlgn="base">
                  <a:defRPr/>
                </a:pPr>
                <a:r>
                  <a:rPr lang="en-US" sz="1200" kern="0">
                    <a:solidFill>
                      <a:srgbClr val="000000"/>
                    </a:solidFill>
                    <a:latin typeface="Segoe UI"/>
                    <a:ea typeface="Times New Roman"/>
                    <a:cs typeface="Times New Roman"/>
                  </a:rPr>
                  <a:t>Controlled by “max server memory”</a:t>
                </a:r>
              </a:p>
              <a:p>
                <a:pPr algn="ctr" defTabSz="914225" fontAlgn="base">
                  <a:defRPr/>
                </a:pPr>
                <a:endParaRPr lang="en-US" sz="1200" kern="0">
                  <a:solidFill>
                    <a:prstClr val="black"/>
                  </a:solidFill>
                  <a:latin typeface="Times New Roman"/>
                  <a:ea typeface="Times New Roman"/>
                </a:endParaRPr>
              </a:p>
            </p:txBody>
          </p:sp>
          <p:sp>
            <p:nvSpPr>
              <p:cNvPr id="83" name="Rounded Rectangle 82"/>
              <p:cNvSpPr/>
              <p:nvPr/>
            </p:nvSpPr>
            <p:spPr>
              <a:xfrm>
                <a:off x="6691356" y="3921906"/>
                <a:ext cx="1690644" cy="878694"/>
              </a:xfrm>
              <a:prstGeom prst="round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rtlCol="0" anchor="ctr"/>
              <a:lstStyle/>
              <a:p>
                <a:pPr algn="ctr" defTabSz="914225" fontAlgn="base">
                  <a:defRPr/>
                </a:pPr>
                <a:r>
                  <a:rPr lang="en-US" sz="1200" kern="0">
                    <a:solidFill>
                      <a:srgbClr val="000000"/>
                    </a:solidFill>
                    <a:latin typeface="Segoe UI"/>
                    <a:ea typeface="Times New Roman"/>
                    <a:cs typeface="Times New Roman"/>
                  </a:rPr>
                  <a:t>Direct OS Allocation</a:t>
                </a:r>
                <a:br>
                  <a:rPr lang="en-US" sz="1200" kern="0">
                    <a:solidFill>
                      <a:srgbClr val="000000"/>
                    </a:solidFill>
                    <a:latin typeface="Segoe UI"/>
                    <a:ea typeface="Times New Roman"/>
                    <a:cs typeface="Times New Roman"/>
                  </a:rPr>
                </a:br>
                <a:r>
                  <a:rPr lang="en-US" sz="1200" kern="0">
                    <a:solidFill>
                      <a:srgbClr val="000000"/>
                    </a:solidFill>
                    <a:latin typeface="Segoe UI"/>
                    <a:ea typeface="Times New Roman"/>
                    <a:cs typeface="Times New Roman"/>
                  </a:rPr>
                  <a:t>(Thread stacks, DLLs)</a:t>
                </a:r>
                <a:endParaRPr lang="en-US" sz="1200" kern="0">
                  <a:solidFill>
                    <a:prstClr val="black"/>
                  </a:solidFill>
                  <a:latin typeface="Times New Roman"/>
                  <a:ea typeface="Times New Roman"/>
                </a:endParaRPr>
              </a:p>
            </p:txBody>
          </p:sp>
        </p:grpSp>
        <p:cxnSp>
          <p:nvCxnSpPr>
            <p:cNvPr id="59" name="Straight Connector 58"/>
            <p:cNvCxnSpPr>
              <a:stCxn id="67" idx="2"/>
            </p:cNvCxnSpPr>
            <p:nvPr/>
          </p:nvCxnSpPr>
          <p:spPr>
            <a:xfrm>
              <a:off x="6255522" y="3505200"/>
              <a:ext cx="0" cy="2054334"/>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tailEnd type="triangle"/>
            </a:ln>
            <a:effectLst>
              <a:outerShdw blurRad="40000" dist="20000" dir="5400000" rotWithShape="0">
                <a:srgbClr val="000000">
                  <a:alpha val="38000"/>
                </a:srgbClr>
              </a:outerShdw>
            </a:effectLst>
          </p:spPr>
        </p:cxnSp>
        <p:cxnSp>
          <p:nvCxnSpPr>
            <p:cNvPr id="60" name="Straight Connector 59"/>
            <p:cNvCxnSpPr>
              <a:stCxn id="67" idx="2"/>
              <a:endCxn id="65" idx="3"/>
            </p:cNvCxnSpPr>
            <p:nvPr/>
          </p:nvCxnSpPr>
          <p:spPr>
            <a:xfrm flipH="1">
              <a:off x="4911710" y="3505200"/>
              <a:ext cx="1343812" cy="865628"/>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dash"/>
            </a:ln>
            <a:effectLst>
              <a:outerShdw blurRad="40000" dist="20000" dir="5400000" rotWithShape="0">
                <a:srgbClr val="000000">
                  <a:alpha val="38000"/>
                </a:srgbClr>
              </a:outerShdw>
            </a:effectLst>
          </p:spPr>
        </p:cxnSp>
      </p:grpSp>
      <p:sp>
        <p:nvSpPr>
          <p:cNvPr id="33" name="Title 1">
            <a:extLst>
              <a:ext uri="{FF2B5EF4-FFF2-40B4-BE49-F238E27FC236}">
                <a16:creationId xmlns:a16="http://schemas.microsoft.com/office/drawing/2014/main" id="{60F59E6C-BF33-4D02-825C-1F7F15D1A990}"/>
              </a:ext>
            </a:extLst>
          </p:cNvPr>
          <p:cNvSpPr>
            <a:spLocks noGrp="1"/>
          </p:cNvSpPr>
          <p:nvPr>
            <p:ph type="title"/>
          </p:nvPr>
        </p:nvSpPr>
        <p:spPr>
          <a:xfrm>
            <a:off x="655638" y="320040"/>
            <a:ext cx="10880725" cy="461665"/>
          </a:xfrm>
        </p:spPr>
        <p:txBody>
          <a:bodyPr/>
          <a:lstStyle/>
          <a:p>
            <a:r>
              <a:rPr lang="en-US" sz="3200" dirty="0">
                <a:solidFill>
                  <a:srgbClr val="44546A"/>
                </a:solidFill>
                <a:latin typeface="Segoe UI Semibold" panose="020B0702040204020203" pitchFamily="34" charset="0"/>
              </a:rPr>
              <a:t>Memory Manager SQL Server 2012 and later</a:t>
            </a:r>
          </a:p>
        </p:txBody>
      </p:sp>
    </p:spTree>
    <p:custDataLst>
      <p:tags r:id="rId1"/>
    </p:custDataLst>
    <p:extLst>
      <p:ext uri="{BB962C8B-B14F-4D97-AF65-F5344CB8AC3E}">
        <p14:creationId xmlns:p14="http://schemas.microsoft.com/office/powerpoint/2010/main" val="34785149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0FEBBC9E-7125-4784-A109-4FE8372297B2}"/>
              </a:ext>
            </a:extLst>
          </p:cNvPr>
          <p:cNvGraphicFramePr/>
          <p:nvPr>
            <p:extLst>
              <p:ext uri="{D42A27DB-BD31-4B8C-83A1-F6EECF244321}">
                <p14:modId xmlns:p14="http://schemas.microsoft.com/office/powerpoint/2010/main" val="4172987177"/>
              </p:ext>
            </p:extLst>
          </p:nvPr>
        </p:nvGraphicFramePr>
        <p:xfrm>
          <a:off x="269239" y="1189494"/>
          <a:ext cx="11653523" cy="505890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Title 1"/>
          <p:cNvSpPr>
            <a:spLocks noGrp="1"/>
          </p:cNvSpPr>
          <p:nvPr>
            <p:ph type="title"/>
          </p:nvPr>
        </p:nvSpPr>
        <p:spPr/>
        <p:txBody>
          <a:bodyPr/>
          <a:lstStyle/>
          <a:p>
            <a:r>
              <a:rPr lang="en-US" sz="3200" dirty="0">
                <a:solidFill>
                  <a:srgbClr val="44546A"/>
                </a:solidFill>
                <a:latin typeface="Segoe UI Semibold" panose="020B0702040204020203" pitchFamily="34" charset="0"/>
              </a:rPr>
              <a:t>SQL Server Memory Components</a:t>
            </a:r>
          </a:p>
        </p:txBody>
      </p:sp>
    </p:spTree>
    <p:custDataLst>
      <p:tags r:id="rId1"/>
    </p:custDataLst>
    <p:extLst>
      <p:ext uri="{BB962C8B-B14F-4D97-AF65-F5344CB8AC3E}">
        <p14:creationId xmlns:p14="http://schemas.microsoft.com/office/powerpoint/2010/main" val="340894069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a:solidFill>
            <a:schemeClr val="bg1"/>
          </a:solidFill>
          <a:ln>
            <a:noFill/>
          </a:ln>
        </p:spPr>
        <p:txBody>
          <a:bodyPr wrap="square" anchor="t">
            <a:normAutofit/>
          </a:bodyPr>
          <a:lstStyle/>
          <a:p>
            <a:r>
              <a:rPr lang="en-US" dirty="0"/>
              <a:t>Dynamic Memory Management</a:t>
            </a:r>
          </a:p>
        </p:txBody>
      </p:sp>
      <p:graphicFrame>
        <p:nvGraphicFramePr>
          <p:cNvPr id="6" name="Text Placeholder 3">
            <a:extLst>
              <a:ext uri="{FF2B5EF4-FFF2-40B4-BE49-F238E27FC236}">
                <a16:creationId xmlns:a16="http://schemas.microsoft.com/office/drawing/2014/main" id="{6A5A6F88-EE31-4C94-8D7C-96D61DCA556C}"/>
              </a:ext>
            </a:extLst>
          </p:cNvPr>
          <p:cNvGraphicFramePr/>
          <p:nvPr>
            <p:extLst>
              <p:ext uri="{D42A27DB-BD31-4B8C-83A1-F6EECF244321}">
                <p14:modId xmlns:p14="http://schemas.microsoft.com/office/powerpoint/2010/main" val="411331400"/>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9177021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Dynamic Memory Management</a:t>
            </a:r>
          </a:p>
        </p:txBody>
      </p:sp>
      <p:pic>
        <p:nvPicPr>
          <p:cNvPr id="6" name="Picture 5">
            <a:extLst>
              <a:ext uri="{FF2B5EF4-FFF2-40B4-BE49-F238E27FC236}">
                <a16:creationId xmlns:a16="http://schemas.microsoft.com/office/drawing/2014/main" id="{641B62F8-132C-4507-B526-6E3F060A89CE}"/>
              </a:ext>
            </a:extLst>
          </p:cNvPr>
          <p:cNvPicPr>
            <a:picLocks noChangeAspect="1"/>
          </p:cNvPicPr>
          <p:nvPr/>
        </p:nvPicPr>
        <p:blipFill>
          <a:blip r:embed="rId4"/>
          <a:stretch>
            <a:fillRect/>
          </a:stretch>
        </p:blipFill>
        <p:spPr>
          <a:xfrm>
            <a:off x="45885" y="1189494"/>
            <a:ext cx="12100230" cy="5217411"/>
          </a:xfrm>
          <a:prstGeom prst="rect">
            <a:avLst/>
          </a:prstGeom>
        </p:spPr>
      </p:pic>
    </p:spTree>
    <p:custDataLst>
      <p:tags r:id="rId1"/>
    </p:custDataLst>
    <p:extLst>
      <p:ext uri="{BB962C8B-B14F-4D97-AF65-F5344CB8AC3E}">
        <p14:creationId xmlns:p14="http://schemas.microsoft.com/office/powerpoint/2010/main" val="85226762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Monitoring Memory Usage</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670385602"/>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4: Buffer Pool Management</a:t>
            </a:r>
          </a:p>
        </p:txBody>
      </p:sp>
    </p:spTree>
    <p:extLst>
      <p:ext uri="{BB962C8B-B14F-4D97-AF65-F5344CB8AC3E}">
        <p14:creationId xmlns:p14="http://schemas.microsoft.com/office/powerpoint/2010/main" val="28825014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pPr marL="0" indent="0">
              <a:buNone/>
            </a:pPr>
            <a:r>
              <a:rPr lang="en-US" dirty="0"/>
              <a:t>Understand SQL Server Buffer Pool management</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108229866"/>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Processor Management</a:t>
            </a:r>
          </a:p>
          <a:p>
            <a:r>
              <a:rPr lang="en-US" dirty="0"/>
              <a:t>Lesson 2: Non-Uniform Memory Access (NUMA)</a:t>
            </a:r>
          </a:p>
          <a:p>
            <a:r>
              <a:rPr lang="en-US" dirty="0"/>
              <a:t>Lesson 3: SQL Server Memory Management</a:t>
            </a:r>
          </a:p>
          <a:p>
            <a:r>
              <a:rPr lang="en-US" dirty="0"/>
              <a:t>Lesson 4: Buffer Pool Management</a:t>
            </a:r>
          </a:p>
          <a:p>
            <a:r>
              <a:rPr lang="en-US" dirty="0"/>
              <a:t>Lesson 5: Troubleshooting SQL Server memory</a:t>
            </a:r>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Server Buffer Pool</a:t>
            </a:r>
          </a:p>
        </p:txBody>
      </p:sp>
      <p:graphicFrame>
        <p:nvGraphicFramePr>
          <p:cNvPr id="7" name="Content Placeholder 6">
            <a:extLst>
              <a:ext uri="{FF2B5EF4-FFF2-40B4-BE49-F238E27FC236}">
                <a16:creationId xmlns:a16="http://schemas.microsoft.com/office/drawing/2014/main" id="{ED3B8C91-DEC0-41B6-8662-E0730E77150B}"/>
              </a:ext>
            </a:extLst>
          </p:cNvPr>
          <p:cNvGraphicFramePr>
            <a:graphicFrameLocks noGrp="1"/>
          </p:cNvGraphicFramePr>
          <p:nvPr>
            <p:ph sz="quarter" idx="13"/>
            <p:extLst>
              <p:ext uri="{D42A27DB-BD31-4B8C-83A1-F6EECF244321}">
                <p14:modId xmlns:p14="http://schemas.microsoft.com/office/powerpoint/2010/main" val="568288990"/>
              </p:ext>
            </p:extLst>
          </p:nvPr>
        </p:nvGraphicFramePr>
        <p:xfrm>
          <a:off x="655638" y="1408113"/>
          <a:ext cx="6206049"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Rectangle 1"/>
          <p:cNvSpPr/>
          <p:nvPr/>
        </p:nvSpPr>
        <p:spPr>
          <a:xfrm>
            <a:off x="270068" y="1201981"/>
            <a:ext cx="6435532" cy="830997"/>
          </a:xfrm>
          <a:prstGeom prst="rect">
            <a:avLst/>
          </a:prstGeom>
        </p:spPr>
        <p:txBody>
          <a:bodyPr wrap="square">
            <a:spAutoFit/>
          </a:bodyPr>
          <a:lstStyle/>
          <a:p>
            <a:pPr defTabSz="914225">
              <a:defRPr/>
            </a:pPr>
            <a:endParaRPr lang="en-US" sz="2400" kern="0" dirty="0">
              <a:solidFill>
                <a:sysClr val="windowText" lastClr="000000"/>
              </a:solidFill>
            </a:endParaRPr>
          </a:p>
          <a:p>
            <a:pPr defTabSz="914225">
              <a:defRPr/>
            </a:pPr>
            <a:endParaRPr lang="en-US" sz="2400" kern="0" dirty="0">
              <a:solidFill>
                <a:sysClr val="windowText" lastClr="000000"/>
              </a:solidFill>
            </a:endParaRPr>
          </a:p>
        </p:txBody>
      </p:sp>
      <p:sp>
        <p:nvSpPr>
          <p:cNvPr id="6" name="Rectangle 5">
            <a:extLst>
              <a:ext uri="{FF2B5EF4-FFF2-40B4-BE49-F238E27FC236}">
                <a16:creationId xmlns:a16="http://schemas.microsoft.com/office/drawing/2014/main" id="{755C910C-124C-412E-9FFE-A43C8B0C7589}"/>
              </a:ext>
            </a:extLst>
          </p:cNvPr>
          <p:cNvSpPr/>
          <p:nvPr/>
        </p:nvSpPr>
        <p:spPr>
          <a:xfrm>
            <a:off x="4286194" y="5618234"/>
            <a:ext cx="7391400" cy="717583"/>
          </a:xfrm>
          <a:prstGeom prst="rect">
            <a:avLst/>
          </a:prstGeom>
          <a:ln>
            <a:solidFill>
              <a:schemeClr val="accent1"/>
            </a:solidFill>
          </a:ln>
          <a:effectLst/>
        </p:spPr>
        <p:txBody>
          <a:bodyPr wrap="square">
            <a:noAutofit/>
          </a:bodyPr>
          <a:lstStyle/>
          <a:p>
            <a:r>
              <a:rPr lang="en-US" dirty="0">
                <a:solidFill>
                  <a:schemeClr val="accent4"/>
                </a:solidFill>
                <a:latin typeface="Consolas" panose="020B0609020204030204" pitchFamily="49" charset="0"/>
              </a:rPr>
              <a:t>/* physical Reads &amp; Logical Reads can be obtained with */</a:t>
            </a:r>
          </a:p>
          <a:p>
            <a:r>
              <a:rPr lang="en-US" dirty="0">
                <a:solidFill>
                  <a:srgbClr val="0000FF"/>
                </a:solidFill>
                <a:latin typeface="Consolas" panose="020B0609020204030204" pitchFamily="49" charset="0"/>
              </a:rPr>
              <a:t>SET STATISTICS IO ON </a:t>
            </a:r>
          </a:p>
        </p:txBody>
      </p:sp>
      <p:sp>
        <p:nvSpPr>
          <p:cNvPr id="50" name="AutoShape 6">
            <a:extLst>
              <a:ext uri="{FF2B5EF4-FFF2-40B4-BE49-F238E27FC236}">
                <a16:creationId xmlns:a16="http://schemas.microsoft.com/office/drawing/2014/main" id="{C265A879-66C7-4D62-8F2F-5933AD37294D}"/>
              </a:ext>
            </a:extLst>
          </p:cNvPr>
          <p:cNvSpPr>
            <a:spLocks noChangeArrowheads="1"/>
          </p:cNvSpPr>
          <p:nvPr/>
        </p:nvSpPr>
        <p:spPr bwMode="auto">
          <a:xfrm>
            <a:off x="7981894" y="3829791"/>
            <a:ext cx="801259" cy="1032518"/>
          </a:xfrm>
          <a:prstGeom prst="flowChartMagneticDisk">
            <a:avLst/>
          </a:prstGeom>
          <a:solidFill>
            <a:srgbClr val="00188F"/>
          </a:solidFill>
          <a:ln w="9525" cap="flat" cmpd="sng" algn="ctr">
            <a:solidFill>
              <a:srgbClr val="0078D7"/>
            </a:solidFill>
            <a:prstDash val="solid"/>
            <a:headEnd/>
            <a:tailEnd/>
          </a:ln>
          <a:effectLst/>
        </p:spPr>
        <p:txBody>
          <a:bodyPr wrap="none" anchor="ct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505050"/>
              </a:solidFill>
              <a:effectLst/>
              <a:uLnTx/>
              <a:uFillTx/>
              <a:latin typeface="Arial Narrow" panose="020B0606020202030204" pitchFamily="34" charset="0"/>
              <a:ea typeface="+mn-ea"/>
              <a:cs typeface="+mn-cs"/>
            </a:endParaRPr>
          </a:p>
        </p:txBody>
      </p:sp>
      <p:sp>
        <p:nvSpPr>
          <p:cNvPr id="51" name="AutoShape 7">
            <a:extLst>
              <a:ext uri="{FF2B5EF4-FFF2-40B4-BE49-F238E27FC236}">
                <a16:creationId xmlns:a16="http://schemas.microsoft.com/office/drawing/2014/main" id="{FE2A802F-2F48-41EC-B7A6-2A971F26ADC8}"/>
              </a:ext>
            </a:extLst>
          </p:cNvPr>
          <p:cNvSpPr>
            <a:spLocks noChangeArrowheads="1"/>
          </p:cNvSpPr>
          <p:nvPr/>
        </p:nvSpPr>
        <p:spPr bwMode="auto">
          <a:xfrm>
            <a:off x="8915400" y="3829791"/>
            <a:ext cx="801259" cy="1032518"/>
          </a:xfrm>
          <a:prstGeom prst="flowChartMagneticDisk">
            <a:avLst/>
          </a:prstGeom>
          <a:solidFill>
            <a:srgbClr val="00188F"/>
          </a:solidFill>
          <a:ln w="9525" cap="flat" cmpd="sng" algn="ctr">
            <a:solidFill>
              <a:srgbClr val="0078D7"/>
            </a:solidFill>
            <a:prstDash val="solid"/>
            <a:headEnd/>
            <a:tailEnd/>
          </a:ln>
          <a:effectLst/>
        </p:spPr>
        <p:txBody>
          <a:bodyPr wrap="none" anchor="ct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505050"/>
              </a:solidFill>
              <a:effectLst/>
              <a:uLnTx/>
              <a:uFillTx/>
              <a:latin typeface="Arial Narrow" panose="020B0606020202030204" pitchFamily="34" charset="0"/>
              <a:ea typeface="+mn-ea"/>
              <a:cs typeface="+mn-cs"/>
            </a:endParaRPr>
          </a:p>
        </p:txBody>
      </p:sp>
      <p:sp>
        <p:nvSpPr>
          <p:cNvPr id="52" name="AutoShape 8">
            <a:extLst>
              <a:ext uri="{FF2B5EF4-FFF2-40B4-BE49-F238E27FC236}">
                <a16:creationId xmlns:a16="http://schemas.microsoft.com/office/drawing/2014/main" id="{C7B2B81A-2AE1-4F49-BBC4-DA5974A9B657}"/>
              </a:ext>
            </a:extLst>
          </p:cNvPr>
          <p:cNvSpPr>
            <a:spLocks noChangeArrowheads="1"/>
          </p:cNvSpPr>
          <p:nvPr/>
        </p:nvSpPr>
        <p:spPr bwMode="auto">
          <a:xfrm>
            <a:off x="9848905" y="3829791"/>
            <a:ext cx="801259" cy="1032518"/>
          </a:xfrm>
          <a:prstGeom prst="flowChartMagneticDisk">
            <a:avLst/>
          </a:prstGeom>
          <a:solidFill>
            <a:srgbClr val="00188F"/>
          </a:solidFill>
          <a:ln w="9525" cap="flat" cmpd="sng" algn="ctr">
            <a:solidFill>
              <a:srgbClr val="0078D7"/>
            </a:solidFill>
            <a:prstDash val="solid"/>
            <a:headEnd/>
            <a:tailEnd/>
          </a:ln>
          <a:effectLst/>
        </p:spPr>
        <p:txBody>
          <a:bodyPr wrap="none" anchor="ct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505050"/>
              </a:solidFill>
              <a:effectLst/>
              <a:uLnTx/>
              <a:uFillTx/>
              <a:latin typeface="Arial Narrow" panose="020B0606020202030204" pitchFamily="34" charset="0"/>
              <a:ea typeface="+mn-ea"/>
              <a:cs typeface="+mn-cs"/>
            </a:endParaRPr>
          </a:p>
        </p:txBody>
      </p:sp>
      <p:sp>
        <p:nvSpPr>
          <p:cNvPr id="53" name="AutoShape 9">
            <a:extLst>
              <a:ext uri="{FF2B5EF4-FFF2-40B4-BE49-F238E27FC236}">
                <a16:creationId xmlns:a16="http://schemas.microsoft.com/office/drawing/2014/main" id="{986DFED8-A7A5-4659-AA4E-65DBE020F66B}"/>
              </a:ext>
            </a:extLst>
          </p:cNvPr>
          <p:cNvSpPr>
            <a:spLocks noChangeArrowheads="1"/>
          </p:cNvSpPr>
          <p:nvPr/>
        </p:nvSpPr>
        <p:spPr bwMode="auto">
          <a:xfrm>
            <a:off x="10782410" y="3829791"/>
            <a:ext cx="801259" cy="1032518"/>
          </a:xfrm>
          <a:prstGeom prst="flowChartMagneticDisk">
            <a:avLst/>
          </a:prstGeom>
          <a:solidFill>
            <a:srgbClr val="00188F"/>
          </a:solidFill>
          <a:ln w="9525" cap="flat" cmpd="sng" algn="ctr">
            <a:solidFill>
              <a:srgbClr val="0078D7"/>
            </a:solidFill>
            <a:prstDash val="solid"/>
            <a:headEnd/>
            <a:tailEnd/>
          </a:ln>
          <a:effectLst/>
        </p:spPr>
        <p:txBody>
          <a:bodyPr wrap="none" anchor="ct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505050"/>
              </a:solidFill>
              <a:effectLst/>
              <a:uLnTx/>
              <a:uFillTx/>
              <a:latin typeface="Arial Narrow" panose="020B0606020202030204" pitchFamily="34" charset="0"/>
              <a:ea typeface="+mn-ea"/>
              <a:cs typeface="+mn-cs"/>
            </a:endParaRPr>
          </a:p>
        </p:txBody>
      </p:sp>
      <p:sp>
        <p:nvSpPr>
          <p:cNvPr id="54" name="Text Box 10">
            <a:extLst>
              <a:ext uri="{FF2B5EF4-FFF2-40B4-BE49-F238E27FC236}">
                <a16:creationId xmlns:a16="http://schemas.microsoft.com/office/drawing/2014/main" id="{5B37512A-8246-403C-8609-1B297EA845F0}"/>
              </a:ext>
            </a:extLst>
          </p:cNvPr>
          <p:cNvSpPr txBox="1">
            <a:spLocks noChangeArrowheads="1"/>
          </p:cNvSpPr>
          <p:nvPr/>
        </p:nvSpPr>
        <p:spPr bwMode="auto">
          <a:xfrm>
            <a:off x="6628311" y="3999877"/>
            <a:ext cx="933505" cy="350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algn="r" defTabSz="914224">
              <a:spcBef>
                <a:spcPct val="50000"/>
              </a:spcBef>
              <a:defRPr/>
            </a:pPr>
            <a:r>
              <a:rPr lang="en-US" sz="1632" b="0" kern="0" dirty="0">
                <a:solidFill>
                  <a:srgbClr val="505050">
                    <a:lumMod val="50000"/>
                  </a:srgbClr>
                </a:solidFill>
                <a:latin typeface="Arial" panose="020B0604020202020204" pitchFamily="34" charset="0"/>
              </a:rPr>
              <a:t>Disks</a:t>
            </a:r>
          </a:p>
        </p:txBody>
      </p:sp>
      <p:sp>
        <p:nvSpPr>
          <p:cNvPr id="55" name="Rectangle 11">
            <a:extLst>
              <a:ext uri="{FF2B5EF4-FFF2-40B4-BE49-F238E27FC236}">
                <a16:creationId xmlns:a16="http://schemas.microsoft.com/office/drawing/2014/main" id="{CDD6A2C8-A9DB-4076-A976-978D33F5F1AF}"/>
              </a:ext>
            </a:extLst>
          </p:cNvPr>
          <p:cNvSpPr>
            <a:spLocks noChangeArrowheads="1"/>
          </p:cNvSpPr>
          <p:nvPr/>
        </p:nvSpPr>
        <p:spPr bwMode="auto">
          <a:xfrm>
            <a:off x="7888544" y="2773262"/>
            <a:ext cx="3734021" cy="672337"/>
          </a:xfrm>
          <a:prstGeom prst="rect">
            <a:avLst/>
          </a:prstGeom>
          <a:solidFill>
            <a:srgbClr val="107C10">
              <a:shade val="80000"/>
              <a:satMod val="180000"/>
            </a:srgbClr>
          </a:solidFill>
          <a:ln w="9525" cap="flat" cmpd="sng" algn="ctr">
            <a:solidFill>
              <a:srgbClr val="107C10"/>
            </a:solidFill>
            <a:prstDash val="solid"/>
            <a:headEnd/>
            <a:tailEnd/>
          </a:ln>
          <a:effectLst/>
        </p:spPr>
        <p:txBody>
          <a:bodyPr wrap="none" anchor="ct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Buffer Pool</a:t>
            </a:r>
          </a:p>
        </p:txBody>
      </p:sp>
      <p:sp>
        <p:nvSpPr>
          <p:cNvPr id="56" name="Text Box 12">
            <a:extLst>
              <a:ext uri="{FF2B5EF4-FFF2-40B4-BE49-F238E27FC236}">
                <a16:creationId xmlns:a16="http://schemas.microsoft.com/office/drawing/2014/main" id="{114053ED-8765-466E-84AE-A07DA021C65D}"/>
              </a:ext>
            </a:extLst>
          </p:cNvPr>
          <p:cNvSpPr txBox="1">
            <a:spLocks noChangeArrowheads="1"/>
          </p:cNvSpPr>
          <p:nvPr/>
        </p:nvSpPr>
        <p:spPr bwMode="auto">
          <a:xfrm>
            <a:off x="6394935" y="2869311"/>
            <a:ext cx="1400257" cy="350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algn="r" defTabSz="914224">
              <a:spcBef>
                <a:spcPct val="50000"/>
              </a:spcBef>
              <a:defRPr/>
            </a:pPr>
            <a:r>
              <a:rPr lang="en-US" sz="1632" b="0" kern="0" dirty="0">
                <a:solidFill>
                  <a:srgbClr val="505050">
                    <a:lumMod val="50000"/>
                  </a:srgbClr>
                </a:solidFill>
                <a:latin typeface="Arial" panose="020B0604020202020204" pitchFamily="34" charset="0"/>
              </a:rPr>
              <a:t>Memory</a:t>
            </a:r>
          </a:p>
        </p:txBody>
      </p:sp>
      <p:sp>
        <p:nvSpPr>
          <p:cNvPr id="57" name="Text Box 18">
            <a:extLst>
              <a:ext uri="{FF2B5EF4-FFF2-40B4-BE49-F238E27FC236}">
                <a16:creationId xmlns:a16="http://schemas.microsoft.com/office/drawing/2014/main" id="{EAEDCB83-39E0-4A5D-AF6B-24E5C7CE9796}"/>
              </a:ext>
            </a:extLst>
          </p:cNvPr>
          <p:cNvSpPr txBox="1">
            <a:spLocks noChangeArrowheads="1"/>
          </p:cNvSpPr>
          <p:nvPr/>
        </p:nvSpPr>
        <p:spPr bwMode="auto">
          <a:xfrm>
            <a:off x="7888544" y="1438594"/>
            <a:ext cx="1026856" cy="606488"/>
          </a:xfrm>
          <a:prstGeom prst="rect">
            <a:avLst/>
          </a:prstGeom>
          <a:solidFill>
            <a:srgbClr val="0078D7">
              <a:tint val="65000"/>
            </a:srgbClr>
          </a:solidFill>
          <a:ln w="9525" cap="flat" cmpd="sng" algn="ctr">
            <a:solidFill>
              <a:srgbClr val="0078D7"/>
            </a:solidFill>
            <a:prstDash val="solid"/>
          </a:ln>
          <a:effectLst/>
        </p:spPr>
        <p:txBody>
          <a:bodyPr wrap="square">
            <a:spAutoFit/>
          </a:bodyPr>
          <a:lstStyle>
            <a:defPPr>
              <a:defRPr lang="en-US"/>
            </a:defPPr>
            <a:lvl1pPr>
              <a:defRPr b="0">
                <a:latin typeface="Arial" panose="020B0604020202020204" pitchFamily="34" charset="0"/>
              </a:defRPr>
            </a:lvl1pPr>
            <a:lvl2pPr marL="742950" indent="-285750">
              <a:defRPr b="1">
                <a:latin typeface="Arial Narrow" panose="020B0606020202030204" pitchFamily="34" charset="0"/>
              </a:defRPr>
            </a:lvl2pPr>
            <a:lvl3pPr marL="1143000" indent="-228600">
              <a:defRPr b="1">
                <a:latin typeface="Arial Narrow" panose="020B0606020202030204" pitchFamily="34" charset="0"/>
              </a:defRPr>
            </a:lvl3pPr>
            <a:lvl4pPr marL="1600200" indent="-228600">
              <a:defRPr b="1">
                <a:latin typeface="Arial Narrow" panose="020B0606020202030204" pitchFamily="34" charset="0"/>
              </a:defRPr>
            </a:lvl4pPr>
            <a:lvl5pPr marL="2057400" indent="-228600">
              <a:defRPr b="1">
                <a:latin typeface="Arial Narrow" panose="020B0606020202030204" pitchFamily="34" charset="0"/>
              </a:defRPr>
            </a:lvl5pPr>
            <a:lvl6pPr marL="2514600" indent="-228600" algn="ctr" eaLnBrk="0" fontAlgn="base" hangingPunct="0">
              <a:spcBef>
                <a:spcPct val="0"/>
              </a:spcBef>
              <a:spcAft>
                <a:spcPct val="0"/>
              </a:spcAft>
              <a:defRPr b="1">
                <a:latin typeface="Arial Narrow" panose="020B0606020202030204" pitchFamily="34" charset="0"/>
              </a:defRPr>
            </a:lvl6pPr>
            <a:lvl7pPr marL="2971800" indent="-228600" algn="ctr" eaLnBrk="0" fontAlgn="base" hangingPunct="0">
              <a:spcBef>
                <a:spcPct val="0"/>
              </a:spcBef>
              <a:spcAft>
                <a:spcPct val="0"/>
              </a:spcAft>
              <a:defRPr b="1">
                <a:latin typeface="Arial Narrow" panose="020B0606020202030204" pitchFamily="34" charset="0"/>
              </a:defRPr>
            </a:lvl7pPr>
            <a:lvl8pPr marL="3429000" indent="-228600" algn="ctr" eaLnBrk="0" fontAlgn="base" hangingPunct="0">
              <a:spcBef>
                <a:spcPct val="0"/>
              </a:spcBef>
              <a:spcAft>
                <a:spcPct val="0"/>
              </a:spcAft>
              <a:defRPr b="1">
                <a:latin typeface="Arial Narrow" panose="020B0606020202030204" pitchFamily="34" charset="0"/>
              </a:defRPr>
            </a:lvl8pPr>
            <a:lvl9pPr marL="3886200" indent="-228600" algn="ctr" eaLnBrk="0" fontAlgn="base" hangingPunct="0">
              <a:spcBef>
                <a:spcPct val="0"/>
              </a:spcBef>
              <a:spcAft>
                <a:spcPct val="0"/>
              </a:spcAft>
              <a:defRPr b="1">
                <a:latin typeface="Arial Narrow" panose="020B0606020202030204" pitchFamily="34" charset="0"/>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Physical</a:t>
            </a:r>
          </a:p>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Read</a:t>
            </a:r>
          </a:p>
        </p:txBody>
      </p:sp>
      <p:sp>
        <p:nvSpPr>
          <p:cNvPr id="58" name="Text Box 19">
            <a:extLst>
              <a:ext uri="{FF2B5EF4-FFF2-40B4-BE49-F238E27FC236}">
                <a16:creationId xmlns:a16="http://schemas.microsoft.com/office/drawing/2014/main" id="{59F6E1F2-FFD9-46E3-8091-608AF1877D43}"/>
              </a:ext>
            </a:extLst>
          </p:cNvPr>
          <p:cNvSpPr txBox="1">
            <a:spLocks noChangeArrowheads="1"/>
          </p:cNvSpPr>
          <p:nvPr/>
        </p:nvSpPr>
        <p:spPr bwMode="auto">
          <a:xfrm>
            <a:off x="10640714" y="1438594"/>
            <a:ext cx="866833" cy="606488"/>
          </a:xfrm>
          <a:prstGeom prst="rect">
            <a:avLst/>
          </a:prstGeom>
          <a:solidFill>
            <a:srgbClr val="0078D7">
              <a:tint val="65000"/>
            </a:srgbClr>
          </a:solidFill>
          <a:ln w="9525" cap="flat" cmpd="sng" algn="ctr">
            <a:solidFill>
              <a:srgbClr val="0078D7"/>
            </a:solidFill>
            <a:prstDash val="solid"/>
          </a:ln>
          <a:effectLst/>
        </p:spPr>
        <p:txBody>
          <a:bodyPr wrap="none">
            <a:spAutoFit/>
          </a:bodyPr>
          <a:lstStyle>
            <a:defPPr>
              <a:defRPr lang="en-US"/>
            </a:defPPr>
            <a:lvl1pPr>
              <a:defRPr b="0">
                <a:latin typeface="Arial" panose="020B0604020202020204" pitchFamily="34" charset="0"/>
              </a:defRPr>
            </a:lvl1pPr>
            <a:lvl2pPr marL="742950" indent="-285750">
              <a:defRPr b="1">
                <a:latin typeface="Arial Narrow" panose="020B0606020202030204" pitchFamily="34" charset="0"/>
              </a:defRPr>
            </a:lvl2pPr>
            <a:lvl3pPr marL="1143000" indent="-228600">
              <a:defRPr b="1">
                <a:latin typeface="Arial Narrow" panose="020B0606020202030204" pitchFamily="34" charset="0"/>
              </a:defRPr>
            </a:lvl3pPr>
            <a:lvl4pPr marL="1600200" indent="-228600">
              <a:defRPr b="1">
                <a:latin typeface="Arial Narrow" panose="020B0606020202030204" pitchFamily="34" charset="0"/>
              </a:defRPr>
            </a:lvl4pPr>
            <a:lvl5pPr marL="2057400" indent="-228600">
              <a:defRPr b="1">
                <a:latin typeface="Arial Narrow" panose="020B0606020202030204" pitchFamily="34" charset="0"/>
              </a:defRPr>
            </a:lvl5pPr>
            <a:lvl6pPr marL="2514600" indent="-228600" algn="ctr" eaLnBrk="0" fontAlgn="base" hangingPunct="0">
              <a:spcBef>
                <a:spcPct val="0"/>
              </a:spcBef>
              <a:spcAft>
                <a:spcPct val="0"/>
              </a:spcAft>
              <a:defRPr b="1">
                <a:latin typeface="Arial Narrow" panose="020B0606020202030204" pitchFamily="34" charset="0"/>
              </a:defRPr>
            </a:lvl6pPr>
            <a:lvl7pPr marL="2971800" indent="-228600" algn="ctr" eaLnBrk="0" fontAlgn="base" hangingPunct="0">
              <a:spcBef>
                <a:spcPct val="0"/>
              </a:spcBef>
              <a:spcAft>
                <a:spcPct val="0"/>
              </a:spcAft>
              <a:defRPr b="1">
                <a:latin typeface="Arial Narrow" panose="020B0606020202030204" pitchFamily="34" charset="0"/>
              </a:defRPr>
            </a:lvl7pPr>
            <a:lvl8pPr marL="3429000" indent="-228600" algn="ctr" eaLnBrk="0" fontAlgn="base" hangingPunct="0">
              <a:spcBef>
                <a:spcPct val="0"/>
              </a:spcBef>
              <a:spcAft>
                <a:spcPct val="0"/>
              </a:spcAft>
              <a:defRPr b="1">
                <a:latin typeface="Arial Narrow" panose="020B0606020202030204" pitchFamily="34" charset="0"/>
              </a:defRPr>
            </a:lvl8pPr>
            <a:lvl9pPr marL="3886200" indent="-228600" algn="ctr" eaLnBrk="0" fontAlgn="base" hangingPunct="0">
              <a:spcBef>
                <a:spcPct val="0"/>
              </a:spcBef>
              <a:spcAft>
                <a:spcPct val="0"/>
              </a:spcAft>
              <a:defRPr b="1">
                <a:latin typeface="Arial Narrow" panose="020B0606020202030204" pitchFamily="34" charset="0"/>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Logical</a:t>
            </a:r>
          </a:p>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Read</a:t>
            </a:r>
          </a:p>
        </p:txBody>
      </p:sp>
      <p:sp>
        <p:nvSpPr>
          <p:cNvPr id="59" name="Line 13">
            <a:extLst>
              <a:ext uri="{FF2B5EF4-FFF2-40B4-BE49-F238E27FC236}">
                <a16:creationId xmlns:a16="http://schemas.microsoft.com/office/drawing/2014/main" id="{C9C991CD-B4F0-41E8-8798-B69F500180DE}"/>
              </a:ext>
            </a:extLst>
          </p:cNvPr>
          <p:cNvSpPr>
            <a:spLocks noChangeShapeType="1"/>
          </p:cNvSpPr>
          <p:nvPr/>
        </p:nvSpPr>
        <p:spPr bwMode="auto">
          <a:xfrm>
            <a:off x="8261946" y="2172963"/>
            <a:ext cx="0" cy="1656830"/>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0" name="Line 14">
            <a:extLst>
              <a:ext uri="{FF2B5EF4-FFF2-40B4-BE49-F238E27FC236}">
                <a16:creationId xmlns:a16="http://schemas.microsoft.com/office/drawing/2014/main" id="{426269A6-1A40-43C7-A172-B551A71A3B86}"/>
              </a:ext>
            </a:extLst>
          </p:cNvPr>
          <p:cNvSpPr>
            <a:spLocks noChangeShapeType="1"/>
          </p:cNvSpPr>
          <p:nvPr/>
        </p:nvSpPr>
        <p:spPr bwMode="auto">
          <a:xfrm flipV="1">
            <a:off x="8448646" y="3157455"/>
            <a:ext cx="0" cy="672337"/>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1" name="Line 15">
            <a:extLst>
              <a:ext uri="{FF2B5EF4-FFF2-40B4-BE49-F238E27FC236}">
                <a16:creationId xmlns:a16="http://schemas.microsoft.com/office/drawing/2014/main" id="{002CC1DF-7D1C-4A21-B69B-B3D678418D5F}"/>
              </a:ext>
            </a:extLst>
          </p:cNvPr>
          <p:cNvSpPr>
            <a:spLocks noChangeShapeType="1"/>
          </p:cNvSpPr>
          <p:nvPr/>
        </p:nvSpPr>
        <p:spPr bwMode="auto">
          <a:xfrm flipV="1">
            <a:off x="8448646" y="2172962"/>
            <a:ext cx="0" cy="768385"/>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2" name="Line 16">
            <a:extLst>
              <a:ext uri="{FF2B5EF4-FFF2-40B4-BE49-F238E27FC236}">
                <a16:creationId xmlns:a16="http://schemas.microsoft.com/office/drawing/2014/main" id="{5131CD87-51EF-490F-9DE6-8BF3015F8CD8}"/>
              </a:ext>
            </a:extLst>
          </p:cNvPr>
          <p:cNvSpPr>
            <a:spLocks noChangeShapeType="1"/>
          </p:cNvSpPr>
          <p:nvPr/>
        </p:nvSpPr>
        <p:spPr bwMode="auto">
          <a:xfrm flipV="1">
            <a:off x="11155812" y="2172962"/>
            <a:ext cx="0" cy="768385"/>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3" name="Line 17">
            <a:extLst>
              <a:ext uri="{FF2B5EF4-FFF2-40B4-BE49-F238E27FC236}">
                <a16:creationId xmlns:a16="http://schemas.microsoft.com/office/drawing/2014/main" id="{3AF3AED8-D2B4-45EF-B9E7-36FCCD2533C6}"/>
              </a:ext>
            </a:extLst>
          </p:cNvPr>
          <p:cNvSpPr>
            <a:spLocks noChangeShapeType="1"/>
          </p:cNvSpPr>
          <p:nvPr/>
        </p:nvSpPr>
        <p:spPr bwMode="auto">
          <a:xfrm>
            <a:off x="10969110" y="2172962"/>
            <a:ext cx="0" cy="768385"/>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Tree>
    <p:custDataLst>
      <p:tags r:id="rId1"/>
    </p:custDataLst>
    <p:extLst>
      <p:ext uri="{BB962C8B-B14F-4D97-AF65-F5344CB8AC3E}">
        <p14:creationId xmlns:p14="http://schemas.microsoft.com/office/powerpoint/2010/main" val="4174331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repeatCount="indefinite" fill="hold" grpId="0" nodeType="with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wipe(up)">
                                      <p:cBhvr>
                                        <p:cTn id="7" dur="2000"/>
                                        <p:tgtEl>
                                          <p:spTgt spid="59"/>
                                        </p:tgtEl>
                                      </p:cBhvr>
                                    </p:animEffect>
                                  </p:childTnLst>
                                </p:cTn>
                              </p:par>
                              <p:par>
                                <p:cTn id="8" presetID="22" presetClass="entr" presetSubtype="4" repeatCount="indefinite" fill="hold" grpId="0" nodeType="withEffect">
                                  <p:stCondLst>
                                    <p:cond delay="4250"/>
                                  </p:stCondLst>
                                  <p:childTnLst>
                                    <p:set>
                                      <p:cBhvr>
                                        <p:cTn id="9" dur="1" fill="hold">
                                          <p:stCondLst>
                                            <p:cond delay="0"/>
                                          </p:stCondLst>
                                        </p:cTn>
                                        <p:tgtEl>
                                          <p:spTgt spid="61"/>
                                        </p:tgtEl>
                                        <p:attrNameLst>
                                          <p:attrName>style.visibility</p:attrName>
                                        </p:attrNameLst>
                                      </p:cBhvr>
                                      <p:to>
                                        <p:strVal val="visible"/>
                                      </p:to>
                                    </p:set>
                                    <p:animEffect transition="in" filter="wipe(down)">
                                      <p:cBhvr>
                                        <p:cTn id="10" dur="2000"/>
                                        <p:tgtEl>
                                          <p:spTgt spid="61"/>
                                        </p:tgtEl>
                                      </p:cBhvr>
                                    </p:animEffect>
                                  </p:childTnLst>
                                </p:cTn>
                              </p:par>
                              <p:par>
                                <p:cTn id="11" presetID="22" presetClass="entr" presetSubtype="4" repeatCount="indefinite" fill="hold" grpId="0" nodeType="withEffect">
                                  <p:stCondLst>
                                    <p:cond delay="2250"/>
                                  </p:stCondLst>
                                  <p:childTnLst>
                                    <p:set>
                                      <p:cBhvr>
                                        <p:cTn id="12" dur="1" fill="hold">
                                          <p:stCondLst>
                                            <p:cond delay="0"/>
                                          </p:stCondLst>
                                        </p:cTn>
                                        <p:tgtEl>
                                          <p:spTgt spid="60"/>
                                        </p:tgtEl>
                                        <p:attrNameLst>
                                          <p:attrName>style.visibility</p:attrName>
                                        </p:attrNameLst>
                                      </p:cBhvr>
                                      <p:to>
                                        <p:strVal val="visible"/>
                                      </p:to>
                                    </p:set>
                                    <p:animEffect transition="in" filter="wipe(down)">
                                      <p:cBhvr>
                                        <p:cTn id="13" dur="2000"/>
                                        <p:tgtEl>
                                          <p:spTgt spid="60"/>
                                        </p:tgtEl>
                                      </p:cBhvr>
                                    </p:animEffect>
                                  </p:childTnLst>
                                </p:cTn>
                              </p:par>
                              <p:par>
                                <p:cTn id="14" presetID="22" presetClass="entr" presetSubtype="1" repeatCount="indefinite" fill="hold" grpId="0" nodeType="withEffect">
                                  <p:stCondLst>
                                    <p:cond delay="450"/>
                                  </p:stCondLst>
                                  <p:childTnLst>
                                    <p:set>
                                      <p:cBhvr>
                                        <p:cTn id="15" dur="1" fill="hold">
                                          <p:stCondLst>
                                            <p:cond delay="0"/>
                                          </p:stCondLst>
                                        </p:cTn>
                                        <p:tgtEl>
                                          <p:spTgt spid="63"/>
                                        </p:tgtEl>
                                        <p:attrNameLst>
                                          <p:attrName>style.visibility</p:attrName>
                                        </p:attrNameLst>
                                      </p:cBhvr>
                                      <p:to>
                                        <p:strVal val="visible"/>
                                      </p:to>
                                    </p:set>
                                    <p:animEffect transition="in" filter="wipe(up)">
                                      <p:cBhvr>
                                        <p:cTn id="16" dur="2000"/>
                                        <p:tgtEl>
                                          <p:spTgt spid="63"/>
                                        </p:tgtEl>
                                      </p:cBhvr>
                                    </p:animEffect>
                                  </p:childTnLst>
                                </p:cTn>
                              </p:par>
                              <p:par>
                                <p:cTn id="17" presetID="22" presetClass="entr" presetSubtype="4" repeatCount="indefinite" fill="hold" grpId="0" nodeType="withEffect">
                                  <p:stCondLst>
                                    <p:cond delay="2250"/>
                                  </p:stCondLst>
                                  <p:childTnLst>
                                    <p:set>
                                      <p:cBhvr>
                                        <p:cTn id="18" dur="1" fill="hold">
                                          <p:stCondLst>
                                            <p:cond delay="0"/>
                                          </p:stCondLst>
                                        </p:cTn>
                                        <p:tgtEl>
                                          <p:spTgt spid="62"/>
                                        </p:tgtEl>
                                        <p:attrNameLst>
                                          <p:attrName>style.visibility</p:attrName>
                                        </p:attrNameLst>
                                      </p:cBhvr>
                                      <p:to>
                                        <p:strVal val="visible"/>
                                      </p:to>
                                    </p:set>
                                    <p:animEffect transition="in" filter="wipe(down)">
                                      <p:cBhvr>
                                        <p:cTn id="19" dur="2000"/>
                                        <p:tgtEl>
                                          <p:spTgt spid="62"/>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9" grpId="0" animBg="1"/>
      <p:bldP spid="60" grpId="0" animBg="1"/>
      <p:bldP spid="61" grpId="0" animBg="1"/>
      <p:bldP spid="62" grpId="0" animBg="1"/>
      <p:bldP spid="6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a:solidFill>
            <a:schemeClr val="bg1"/>
          </a:solidFill>
          <a:ln>
            <a:noFill/>
          </a:ln>
        </p:spPr>
        <p:txBody>
          <a:bodyPr wrap="square" anchor="t">
            <a:normAutofit/>
          </a:bodyPr>
          <a:lstStyle/>
          <a:p>
            <a:r>
              <a:rPr lang="en-US" dirty="0"/>
              <a:t>Lock Pages in Memory</a:t>
            </a:r>
          </a:p>
        </p:txBody>
      </p:sp>
      <p:graphicFrame>
        <p:nvGraphicFramePr>
          <p:cNvPr id="8" name="Text Placeholder 5">
            <a:extLst>
              <a:ext uri="{FF2B5EF4-FFF2-40B4-BE49-F238E27FC236}">
                <a16:creationId xmlns:a16="http://schemas.microsoft.com/office/drawing/2014/main" id="{AC5A768D-974A-4D39-8DDF-DE915605D62D}"/>
              </a:ext>
            </a:extLst>
          </p:cNvPr>
          <p:cNvGraphicFramePr/>
          <p:nvPr>
            <p:extLst>
              <p:ext uri="{D42A27DB-BD31-4B8C-83A1-F6EECF244321}">
                <p14:modId xmlns:p14="http://schemas.microsoft.com/office/powerpoint/2010/main" val="4172086909"/>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3524025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9BB7A-6184-4050-9374-5FAC41A3F380}"/>
              </a:ext>
            </a:extLst>
          </p:cNvPr>
          <p:cNvSpPr>
            <a:spLocks noGrp="1"/>
          </p:cNvSpPr>
          <p:nvPr>
            <p:ph type="title"/>
          </p:nvPr>
        </p:nvSpPr>
        <p:spPr/>
        <p:txBody>
          <a:bodyPr wrap="square" anchor="t">
            <a:normAutofit/>
          </a:bodyPr>
          <a:lstStyle/>
          <a:p>
            <a:r>
              <a:rPr lang="en-US" dirty="0"/>
              <a:t>Shrinking the Buffer Pool</a:t>
            </a:r>
          </a:p>
        </p:txBody>
      </p:sp>
      <p:sp>
        <p:nvSpPr>
          <p:cNvPr id="11" name="Subtitle 2">
            <a:extLst>
              <a:ext uri="{FF2B5EF4-FFF2-40B4-BE49-F238E27FC236}">
                <a16:creationId xmlns:a16="http://schemas.microsoft.com/office/drawing/2014/main" id="{905DBD1E-2863-448F-A4B9-A4B55C1CE9C9}"/>
              </a:ext>
            </a:extLst>
          </p:cNvPr>
          <p:cNvSpPr>
            <a:spLocks noGrp="1"/>
          </p:cNvSpPr>
          <p:nvPr>
            <p:ph type="subTitle" idx="1"/>
          </p:nvPr>
        </p:nvSpPr>
        <p:spPr/>
        <p:txBody>
          <a:bodyPr/>
          <a:lstStyle/>
          <a:p>
            <a:endParaRPr lang="en-US" dirty="0"/>
          </a:p>
        </p:txBody>
      </p:sp>
      <p:graphicFrame>
        <p:nvGraphicFramePr>
          <p:cNvPr id="4" name="Text Placeholder 2">
            <a:extLst>
              <a:ext uri="{FF2B5EF4-FFF2-40B4-BE49-F238E27FC236}">
                <a16:creationId xmlns:a16="http://schemas.microsoft.com/office/drawing/2014/main" id="{92500308-EDB4-4612-8E4B-9E5462088D5E}"/>
              </a:ext>
            </a:extLst>
          </p:cNvPr>
          <p:cNvGraphicFramePr>
            <a:graphicFrameLocks noGrp="1"/>
          </p:cNvGraphicFramePr>
          <p:nvPr>
            <p:ph sz="quarter" idx="13"/>
            <p:extLst>
              <p:ext uri="{D42A27DB-BD31-4B8C-83A1-F6EECF244321}">
                <p14:modId xmlns:p14="http://schemas.microsoft.com/office/powerpoint/2010/main" val="2683641732"/>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371305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a:ln>
            <a:noFill/>
          </a:ln>
        </p:spPr>
        <p:txBody>
          <a:bodyPr vert="horz" wrap="square" lIns="0" tIns="0" rIns="0" bIns="0" rtlCol="0" anchor="t">
            <a:normAutofit/>
          </a:bodyPr>
          <a:lstStyle/>
          <a:p>
            <a:r>
              <a:rPr lang="en-US" b="0" kern="1200" cap="none" spc="-50" baseline="0" dirty="0">
                <a:ln w="3175">
                  <a:noFill/>
                </a:ln>
                <a:effectLst/>
                <a:latin typeface="+mj-lt"/>
                <a:ea typeface="+mn-ea"/>
                <a:cs typeface="Segoe UI" pitchFamily="34" charset="0"/>
              </a:rPr>
              <a:t>Buffer Pool Extensions</a:t>
            </a:r>
          </a:p>
        </p:txBody>
      </p:sp>
      <p:graphicFrame>
        <p:nvGraphicFramePr>
          <p:cNvPr id="4" name="Text Placeholder 3">
            <a:extLst>
              <a:ext uri="{FF2B5EF4-FFF2-40B4-BE49-F238E27FC236}">
                <a16:creationId xmlns:a16="http://schemas.microsoft.com/office/drawing/2014/main" id="{F1008666-2007-481E-B3C4-7DCA03FD9FA2}"/>
              </a:ext>
            </a:extLst>
          </p:cNvPr>
          <p:cNvGraphicFramePr>
            <a:graphicFrameLocks noGrp="1"/>
          </p:cNvGraphicFramePr>
          <p:nvPr>
            <p:ph sz="quarter" idx="13"/>
            <p:extLst>
              <p:ext uri="{D42A27DB-BD31-4B8C-83A1-F6EECF244321}">
                <p14:modId xmlns:p14="http://schemas.microsoft.com/office/powerpoint/2010/main" val="1632503172"/>
              </p:ext>
            </p:extLst>
          </p:nvPr>
        </p:nvGraphicFramePr>
        <p:xfrm>
          <a:off x="655638" y="1408113"/>
          <a:ext cx="10880725" cy="316388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Rectangle 7">
            <a:extLst>
              <a:ext uri="{FF2B5EF4-FFF2-40B4-BE49-F238E27FC236}">
                <a16:creationId xmlns:a16="http://schemas.microsoft.com/office/drawing/2014/main" id="{34E74015-C296-40DA-A7E0-A9EB54175D24}"/>
              </a:ext>
            </a:extLst>
          </p:cNvPr>
          <p:cNvSpPr/>
          <p:nvPr/>
        </p:nvSpPr>
        <p:spPr>
          <a:xfrm>
            <a:off x="1143000" y="5429250"/>
            <a:ext cx="5284787" cy="4819650"/>
          </a:xfrm>
          <a:prstGeom prst="rect">
            <a:avLst/>
          </a:prstGeom>
        </p:spPr>
        <p:txBody>
          <a:bodyPr vert="horz" lIns="0" tIns="0" rIns="0" bIns="0" rtlCol="0">
            <a:normAutofit/>
          </a:bodyPr>
          <a:lstStyle/>
          <a:p>
            <a:pPr defTabSz="932688">
              <a:spcAft>
                <a:spcPts val="600"/>
              </a:spcAft>
              <a:buClr>
                <a:schemeClr val="tx1"/>
              </a:buClr>
              <a:buSzPct val="90000"/>
              <a:buFont typeface="Wingdings" panose="05000000000000000000" pitchFamily="2" charset="2"/>
            </a:pPr>
            <a:endParaRPr lang="en-US" sz="2400" dirty="0"/>
          </a:p>
        </p:txBody>
      </p:sp>
      <p:sp>
        <p:nvSpPr>
          <p:cNvPr id="6" name="Rectangle 5">
            <a:extLst>
              <a:ext uri="{FF2B5EF4-FFF2-40B4-BE49-F238E27FC236}">
                <a16:creationId xmlns:a16="http://schemas.microsoft.com/office/drawing/2014/main" id="{7B6DB045-2D3F-4629-B113-1BCF5A4A4B4E}"/>
              </a:ext>
            </a:extLst>
          </p:cNvPr>
          <p:cNvSpPr/>
          <p:nvPr/>
        </p:nvSpPr>
        <p:spPr>
          <a:xfrm>
            <a:off x="658241" y="4847907"/>
            <a:ext cx="10880725" cy="1203960"/>
          </a:xfrm>
          <a:prstGeom prst="rect">
            <a:avLst/>
          </a:prstGeom>
          <a:ln>
            <a:solidFill>
              <a:schemeClr val="accent1"/>
            </a:solidFill>
          </a:ln>
          <a:effectLst/>
        </p:spPr>
        <p:txBody>
          <a:bodyPr wrap="square">
            <a:noAutofit/>
          </a:bodyPr>
          <a:lstStyle/>
          <a:p>
            <a:r>
              <a:rPr lang="en-US" sz="2400" dirty="0">
                <a:solidFill>
                  <a:srgbClr val="0000FF"/>
                </a:solidFill>
                <a:latin typeface="Consolas" panose="020B0609020204030204" pitchFamily="49" charset="0"/>
              </a:rPr>
              <a:t>ALTER</a:t>
            </a:r>
            <a:r>
              <a:rPr lang="en-US" sz="2400" dirty="0">
                <a:solidFill>
                  <a:srgbClr val="000000"/>
                </a:solidFill>
                <a:latin typeface="Consolas" panose="020B0609020204030204" pitchFamily="49" charset="0"/>
              </a:rPr>
              <a:t> </a:t>
            </a:r>
            <a:r>
              <a:rPr lang="en-US" sz="2400" dirty="0">
                <a:solidFill>
                  <a:srgbClr val="0000FF"/>
                </a:solidFill>
                <a:latin typeface="Consolas" panose="020B0609020204030204" pitchFamily="49" charset="0"/>
              </a:rPr>
              <a:t>SERVER</a:t>
            </a:r>
            <a:r>
              <a:rPr lang="en-US" sz="2400" dirty="0">
                <a:solidFill>
                  <a:srgbClr val="000000"/>
                </a:solidFill>
                <a:latin typeface="Consolas" panose="020B0609020204030204" pitchFamily="49" charset="0"/>
              </a:rPr>
              <a:t> </a:t>
            </a:r>
            <a:r>
              <a:rPr lang="en-US" sz="2400" dirty="0">
                <a:solidFill>
                  <a:srgbClr val="0000FF"/>
                </a:solidFill>
                <a:latin typeface="Consolas" panose="020B0609020204030204" pitchFamily="49" charset="0"/>
              </a:rPr>
              <a:t>CONFIGURATION</a:t>
            </a:r>
            <a:r>
              <a:rPr lang="en-US" sz="2400" dirty="0">
                <a:solidFill>
                  <a:srgbClr val="000000"/>
                </a:solidFill>
                <a:latin typeface="Consolas" panose="020B0609020204030204" pitchFamily="49" charset="0"/>
              </a:rPr>
              <a:t> </a:t>
            </a:r>
          </a:p>
          <a:p>
            <a:r>
              <a:rPr lang="en-US" sz="2400" dirty="0">
                <a:solidFill>
                  <a:srgbClr val="0000FF"/>
                </a:solidFill>
                <a:latin typeface="Consolas" panose="020B0609020204030204" pitchFamily="49" charset="0"/>
              </a:rPr>
              <a:t>SET</a:t>
            </a:r>
            <a:r>
              <a:rPr lang="en-US" sz="2400" dirty="0">
                <a:solidFill>
                  <a:srgbClr val="000000"/>
                </a:solidFill>
                <a:latin typeface="Consolas" panose="020B0609020204030204" pitchFamily="49" charset="0"/>
              </a:rPr>
              <a:t> </a:t>
            </a:r>
            <a:r>
              <a:rPr lang="en-US" sz="2400" dirty="0">
                <a:solidFill>
                  <a:srgbClr val="0000FF"/>
                </a:solidFill>
                <a:latin typeface="Consolas" panose="020B0609020204030204" pitchFamily="49" charset="0"/>
              </a:rPr>
              <a:t>BUFFER</a:t>
            </a:r>
            <a:r>
              <a:rPr lang="en-US" sz="2400" dirty="0">
                <a:solidFill>
                  <a:srgbClr val="000000"/>
                </a:solidFill>
                <a:latin typeface="Consolas" panose="020B0609020204030204" pitchFamily="49" charset="0"/>
              </a:rPr>
              <a:t> </a:t>
            </a:r>
            <a:r>
              <a:rPr lang="en-US" sz="2400" dirty="0">
                <a:solidFill>
                  <a:srgbClr val="0000FF"/>
                </a:solidFill>
                <a:latin typeface="Consolas" panose="020B0609020204030204" pitchFamily="49" charset="0"/>
              </a:rPr>
              <a:t>POOL</a:t>
            </a:r>
            <a:r>
              <a:rPr lang="en-US" sz="2400" dirty="0">
                <a:solidFill>
                  <a:srgbClr val="000000"/>
                </a:solidFill>
                <a:latin typeface="Consolas" panose="020B0609020204030204" pitchFamily="49" charset="0"/>
              </a:rPr>
              <a:t> EXTENSION </a:t>
            </a:r>
            <a:r>
              <a:rPr lang="en-US" sz="2400" dirty="0">
                <a:solidFill>
                  <a:srgbClr val="0000FF"/>
                </a:solidFill>
                <a:latin typeface="Consolas" panose="020B0609020204030204" pitchFamily="49" charset="0"/>
              </a:rPr>
              <a:t>ON</a:t>
            </a:r>
            <a:r>
              <a:rPr lang="en-US" sz="2400" dirty="0">
                <a:solidFill>
                  <a:srgbClr val="000000"/>
                </a:solidFill>
                <a:latin typeface="Consolas" panose="020B0609020204030204" pitchFamily="49" charset="0"/>
              </a:rPr>
              <a:t> </a:t>
            </a:r>
          </a:p>
          <a:p>
            <a:r>
              <a:rPr lang="en-US" sz="2400" dirty="0">
                <a:solidFill>
                  <a:srgbClr val="808080"/>
                </a:solidFill>
                <a:latin typeface="Consolas" panose="020B0609020204030204" pitchFamily="49" charset="0"/>
              </a:rPr>
              <a:t>(</a:t>
            </a:r>
            <a:r>
              <a:rPr lang="en-US" sz="2400" dirty="0">
                <a:solidFill>
                  <a:srgbClr val="0000FF"/>
                </a:solidFill>
                <a:latin typeface="Consolas" panose="020B0609020204030204" pitchFamily="49" charset="0"/>
              </a:rPr>
              <a:t>FILENAME</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a:solidFill>
                  <a:srgbClr val="FF0000"/>
                </a:solidFill>
                <a:latin typeface="Consolas" panose="020B0609020204030204" pitchFamily="49" charset="0"/>
              </a:rPr>
              <a:t>'os_file_path_and_name'</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SIZE </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SIZE KB</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MB</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GB</a:t>
            </a:r>
            <a:r>
              <a:rPr lang="en-US" sz="2400" dirty="0">
                <a:solidFill>
                  <a:srgbClr val="808080"/>
                </a:solidFill>
                <a:latin typeface="Consolas" panose="020B0609020204030204" pitchFamily="49" charset="0"/>
              </a:rPr>
              <a:t>})</a:t>
            </a:r>
            <a:endParaRPr lang="en-US" sz="2400" dirty="0"/>
          </a:p>
        </p:txBody>
      </p:sp>
    </p:spTree>
    <p:custDataLst>
      <p:tags r:id="rId1"/>
    </p:custDataLst>
    <p:extLst>
      <p:ext uri="{BB962C8B-B14F-4D97-AF65-F5344CB8AC3E}">
        <p14:creationId xmlns:p14="http://schemas.microsoft.com/office/powerpoint/2010/main" val="34491373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a:ln>
            <a:noFill/>
          </a:ln>
        </p:spPr>
        <p:txBody>
          <a:bodyPr vert="horz" wrap="square" lIns="0" tIns="0" rIns="0" bIns="0" rtlCol="0" anchor="t">
            <a:normAutofit/>
          </a:bodyPr>
          <a:lstStyle/>
          <a:p>
            <a:r>
              <a:rPr lang="en-US" b="0" kern="1200" cap="none" spc="-50" baseline="0" dirty="0">
                <a:ln w="3175">
                  <a:noFill/>
                </a:ln>
                <a:effectLst/>
                <a:latin typeface="+mj-lt"/>
                <a:ea typeface="+mn-ea"/>
                <a:cs typeface="Segoe UI" pitchFamily="34" charset="0"/>
              </a:rPr>
              <a:t>Buffer Pool Parallel Scans</a:t>
            </a:r>
          </a:p>
        </p:txBody>
      </p:sp>
      <p:graphicFrame>
        <p:nvGraphicFramePr>
          <p:cNvPr id="4" name="Text Placeholder 3">
            <a:extLst>
              <a:ext uri="{FF2B5EF4-FFF2-40B4-BE49-F238E27FC236}">
                <a16:creationId xmlns:a16="http://schemas.microsoft.com/office/drawing/2014/main" id="{F1008666-2007-481E-B3C4-7DCA03FD9FA2}"/>
              </a:ext>
            </a:extLst>
          </p:cNvPr>
          <p:cNvGraphicFramePr>
            <a:graphicFrameLocks noGrp="1"/>
          </p:cNvGraphicFramePr>
          <p:nvPr>
            <p:ph sz="quarter" idx="13"/>
            <p:extLst>
              <p:ext uri="{D42A27DB-BD31-4B8C-83A1-F6EECF244321}">
                <p14:modId xmlns:p14="http://schemas.microsoft.com/office/powerpoint/2010/main" val="2297186793"/>
              </p:ext>
            </p:extLst>
          </p:nvPr>
        </p:nvGraphicFramePr>
        <p:xfrm>
          <a:off x="655638" y="1408113"/>
          <a:ext cx="10880725" cy="46635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Rectangle 7">
            <a:extLst>
              <a:ext uri="{FF2B5EF4-FFF2-40B4-BE49-F238E27FC236}">
                <a16:creationId xmlns:a16="http://schemas.microsoft.com/office/drawing/2014/main" id="{34E74015-C296-40DA-A7E0-A9EB54175D24}"/>
              </a:ext>
            </a:extLst>
          </p:cNvPr>
          <p:cNvSpPr/>
          <p:nvPr/>
        </p:nvSpPr>
        <p:spPr>
          <a:xfrm>
            <a:off x="1143000" y="5429250"/>
            <a:ext cx="5284787" cy="4819650"/>
          </a:xfrm>
          <a:prstGeom prst="rect">
            <a:avLst/>
          </a:prstGeom>
        </p:spPr>
        <p:txBody>
          <a:bodyPr vert="horz" lIns="0" tIns="0" rIns="0" bIns="0" rtlCol="0">
            <a:normAutofit/>
          </a:bodyPr>
          <a:lstStyle/>
          <a:p>
            <a:pPr defTabSz="932688">
              <a:spcAft>
                <a:spcPts val="600"/>
              </a:spcAft>
              <a:buClr>
                <a:schemeClr val="tx1"/>
              </a:buClr>
              <a:buSzPct val="90000"/>
              <a:buFont typeface="Wingdings" panose="05000000000000000000" pitchFamily="2" charset="2"/>
            </a:pPr>
            <a:endParaRPr lang="en-US" sz="2400" dirty="0"/>
          </a:p>
        </p:txBody>
      </p:sp>
      <p:sp>
        <p:nvSpPr>
          <p:cNvPr id="2" name="Subtitle 2">
            <a:extLst>
              <a:ext uri="{FF2B5EF4-FFF2-40B4-BE49-F238E27FC236}">
                <a16:creationId xmlns:a16="http://schemas.microsoft.com/office/drawing/2014/main" id="{E764E08D-5A99-A258-88FD-830ACB7C77C2}"/>
              </a:ext>
            </a:extLst>
          </p:cNvPr>
          <p:cNvSpPr txBox="1">
            <a:spLocks/>
          </p:cNvSpPr>
          <p:nvPr/>
        </p:nvSpPr>
        <p:spPr>
          <a:xfrm>
            <a:off x="655637" y="786383"/>
            <a:ext cx="10880725" cy="461665"/>
          </a:xfrm>
          <a:prstGeom prst="rect">
            <a:avLst/>
          </a:prstGeom>
        </p:spPr>
        <p:txBody>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New feature in SQL Server 2022 </a:t>
            </a:r>
          </a:p>
        </p:txBody>
      </p:sp>
    </p:spTree>
    <p:custDataLst>
      <p:tags r:id="rId1"/>
    </p:custDataLst>
    <p:extLst>
      <p:ext uri="{BB962C8B-B14F-4D97-AF65-F5344CB8AC3E}">
        <p14:creationId xmlns:p14="http://schemas.microsoft.com/office/powerpoint/2010/main" val="29027520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617064737"/>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545762" cy="604798"/>
          </a:xfrm>
        </p:spPr>
        <p:txBody>
          <a:bodyPr/>
          <a:lstStyle/>
          <a:p>
            <a:r>
              <a:rPr lang="en-US" dirty="0"/>
              <a:t>Lesson 5: Troubleshooting SQL Server Memory</a:t>
            </a:r>
          </a:p>
        </p:txBody>
      </p:sp>
    </p:spTree>
    <p:extLst>
      <p:ext uri="{BB962C8B-B14F-4D97-AF65-F5344CB8AC3E}">
        <p14:creationId xmlns:p14="http://schemas.microsoft.com/office/powerpoint/2010/main" val="574958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pPr marL="0" indent="0">
              <a:buNone/>
            </a:pPr>
            <a:r>
              <a:rPr lang="en-US" dirty="0"/>
              <a:t>Understand how to monitor SQL Server memory</a:t>
            </a:r>
          </a:p>
          <a:p>
            <a:pPr marL="0" indent="0">
              <a:buNone/>
            </a:pPr>
            <a:r>
              <a:rPr lang="en-US" dirty="0"/>
              <a:t>Identify tools for monitoring and troubleshooting memory issu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solidFill>
            <a:schemeClr val="bg1"/>
          </a:solidFill>
          <a:ln>
            <a:noFill/>
          </a:ln>
        </p:spPr>
        <p:txBody>
          <a:bodyPr wrap="square" anchor="t">
            <a:normAutofit/>
          </a:bodyPr>
          <a:lstStyle/>
          <a:p>
            <a:r>
              <a:rPr lang="en-US" dirty="0"/>
              <a:t>Tools to monitor SQL Server memory usage</a:t>
            </a:r>
          </a:p>
        </p:txBody>
      </p:sp>
      <p:graphicFrame>
        <p:nvGraphicFramePr>
          <p:cNvPr id="6" name="Content Placeholder 3">
            <a:extLst>
              <a:ext uri="{FF2B5EF4-FFF2-40B4-BE49-F238E27FC236}">
                <a16:creationId xmlns:a16="http://schemas.microsoft.com/office/drawing/2014/main" id="{1B7981BD-EB10-4F98-B9EC-DE2E06952636}"/>
              </a:ext>
            </a:extLst>
          </p:cNvPr>
          <p:cNvGraphicFramePr>
            <a:graphicFrameLocks noGrp="1"/>
          </p:cNvGraphicFramePr>
          <p:nvPr>
            <p:ph sz="quarter" idx="13"/>
            <p:extLst>
              <p:ext uri="{D42A27DB-BD31-4B8C-83A1-F6EECF244321}">
                <p14:modId xmlns:p14="http://schemas.microsoft.com/office/powerpoint/2010/main" val="2434668724"/>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217838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erformance Monitor Counters</a:t>
            </a:r>
          </a:p>
        </p:txBody>
      </p:sp>
      <p:graphicFrame>
        <p:nvGraphicFramePr>
          <p:cNvPr id="2" name="Content Placeholder 1">
            <a:extLst>
              <a:ext uri="{FF2B5EF4-FFF2-40B4-BE49-F238E27FC236}">
                <a16:creationId xmlns:a16="http://schemas.microsoft.com/office/drawing/2014/main" id="{FDA37919-9262-4E60-AC1C-A4F695986AF6}"/>
              </a:ext>
            </a:extLst>
          </p:cNvPr>
          <p:cNvGraphicFramePr>
            <a:graphicFrameLocks noGrp="1"/>
          </p:cNvGraphicFramePr>
          <p:nvPr>
            <p:ph sz="quarter" idx="13"/>
            <p:extLst>
              <p:ext uri="{D42A27DB-BD31-4B8C-83A1-F6EECF244321}">
                <p14:modId xmlns:p14="http://schemas.microsoft.com/office/powerpoint/2010/main" val="3546010234"/>
              </p:ext>
            </p:extLst>
          </p:nvPr>
        </p:nvGraphicFramePr>
        <p:xfrm>
          <a:off x="655638" y="1408114"/>
          <a:ext cx="5821362"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9" name="Picture 8"/>
          <p:cNvPicPr>
            <a:picLocks noChangeAspect="1"/>
          </p:cNvPicPr>
          <p:nvPr/>
        </p:nvPicPr>
        <p:blipFill>
          <a:blip r:embed="rId9"/>
          <a:stretch>
            <a:fillRect/>
          </a:stretch>
        </p:blipFill>
        <p:spPr>
          <a:xfrm>
            <a:off x="6628813" y="1676400"/>
            <a:ext cx="4913645" cy="4114800"/>
          </a:xfrm>
          <a:prstGeom prst="rect">
            <a:avLst/>
          </a:prstGeom>
          <a:ln>
            <a:solidFill>
              <a:schemeClr val="tx1"/>
            </a:solidFill>
          </a:ln>
        </p:spPr>
      </p:pic>
    </p:spTree>
    <p:custDataLst>
      <p:tags r:id="rId1"/>
    </p:custDataLst>
    <p:extLst>
      <p:ext uri="{BB962C8B-B14F-4D97-AF65-F5344CB8AC3E}">
        <p14:creationId xmlns:p14="http://schemas.microsoft.com/office/powerpoint/2010/main" val="33860920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Processor Management</a:t>
            </a:r>
          </a:p>
        </p:txBody>
      </p:sp>
    </p:spTree>
    <p:extLst>
      <p:ext uri="{BB962C8B-B14F-4D97-AF65-F5344CB8AC3E}">
        <p14:creationId xmlns:p14="http://schemas.microsoft.com/office/powerpoint/2010/main" val="40837460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08FCC1-310E-48F5-9793-679BD3B76689}"/>
              </a:ext>
            </a:extLst>
          </p:cNvPr>
          <p:cNvSpPr>
            <a:spLocks noGrp="1"/>
          </p:cNvSpPr>
          <p:nvPr>
            <p:ph type="title"/>
          </p:nvPr>
        </p:nvSpPr>
        <p:spPr>
          <a:prstGeom prst="rect">
            <a:avLst/>
          </a:prstGeom>
          <a:ln>
            <a:noFill/>
          </a:ln>
        </p:spPr>
        <p:txBody>
          <a:bodyPr wrap="square" anchor="ctr">
            <a:normAutofit/>
          </a:bodyPr>
          <a:lstStyle/>
          <a:p>
            <a:r>
              <a:rPr lang="en-US" dirty="0"/>
              <a:t>DBCC MEMORYSTATUS</a:t>
            </a:r>
          </a:p>
        </p:txBody>
      </p:sp>
      <p:sp>
        <p:nvSpPr>
          <p:cNvPr id="8" name="Content Placeholder 7">
            <a:extLst>
              <a:ext uri="{FF2B5EF4-FFF2-40B4-BE49-F238E27FC236}">
                <a16:creationId xmlns:a16="http://schemas.microsoft.com/office/drawing/2014/main" id="{F737032E-E6D7-4216-8D41-A43509D8C756}"/>
              </a:ext>
            </a:extLst>
          </p:cNvPr>
          <p:cNvSpPr>
            <a:spLocks noGrp="1"/>
          </p:cNvSpPr>
          <p:nvPr>
            <p:ph sz="quarter" idx="13"/>
          </p:nvPr>
        </p:nvSpPr>
        <p:spPr/>
        <p:txBody>
          <a:bodyPr/>
          <a:lstStyle/>
          <a:p>
            <a:r>
              <a:rPr lang="en-US" dirty="0"/>
              <a:t>Memory Manager</a:t>
            </a:r>
          </a:p>
          <a:p>
            <a:r>
              <a:rPr lang="en-US" dirty="0"/>
              <a:t>Summary of memory usage</a:t>
            </a:r>
          </a:p>
          <a:p>
            <a:r>
              <a:rPr lang="en-US" dirty="0"/>
              <a:t>Aggregate memory</a:t>
            </a:r>
          </a:p>
          <a:p>
            <a:r>
              <a:rPr lang="en-US" dirty="0"/>
              <a:t>Buffer distribution</a:t>
            </a:r>
          </a:p>
          <a:p>
            <a:r>
              <a:rPr lang="en-US" dirty="0"/>
              <a:t>Buffer pool details</a:t>
            </a:r>
          </a:p>
          <a:p>
            <a:r>
              <a:rPr lang="en-US" dirty="0"/>
              <a:t>Procedure cache</a:t>
            </a:r>
          </a:p>
          <a:p>
            <a:r>
              <a:rPr lang="en-US" dirty="0"/>
              <a:t>Global memory objects</a:t>
            </a:r>
          </a:p>
          <a:p>
            <a:r>
              <a:rPr lang="en-US" dirty="0"/>
              <a:t>Query memory objects</a:t>
            </a:r>
          </a:p>
          <a:p>
            <a:r>
              <a:rPr lang="en-US" dirty="0"/>
              <a:t>Optimization</a:t>
            </a:r>
          </a:p>
          <a:p>
            <a:r>
              <a:rPr lang="en-US" dirty="0"/>
              <a:t>Memory brokers</a:t>
            </a:r>
          </a:p>
        </p:txBody>
      </p:sp>
      <p:pic>
        <p:nvPicPr>
          <p:cNvPr id="4" name="Picture 3">
            <a:extLst>
              <a:ext uri="{FF2B5EF4-FFF2-40B4-BE49-F238E27FC236}">
                <a16:creationId xmlns:a16="http://schemas.microsoft.com/office/drawing/2014/main" id="{0C7B24B8-890D-48C3-A494-8634128A8ADD}"/>
              </a:ext>
            </a:extLst>
          </p:cNvPr>
          <p:cNvPicPr>
            <a:picLocks noChangeAspect="1"/>
          </p:cNvPicPr>
          <p:nvPr/>
        </p:nvPicPr>
        <p:blipFill>
          <a:blip r:embed="rId3"/>
          <a:stretch>
            <a:fillRect/>
          </a:stretch>
        </p:blipFill>
        <p:spPr>
          <a:xfrm>
            <a:off x="6172200" y="2041416"/>
            <a:ext cx="3400900" cy="2324424"/>
          </a:xfrm>
          <a:prstGeom prst="rect">
            <a:avLst/>
          </a:prstGeom>
        </p:spPr>
      </p:pic>
      <p:pic>
        <p:nvPicPr>
          <p:cNvPr id="6" name="Picture 5">
            <a:extLst>
              <a:ext uri="{FF2B5EF4-FFF2-40B4-BE49-F238E27FC236}">
                <a16:creationId xmlns:a16="http://schemas.microsoft.com/office/drawing/2014/main" id="{6C145AF4-A5AF-48B9-A360-F318ACF45FE0}"/>
              </a:ext>
            </a:extLst>
          </p:cNvPr>
          <p:cNvPicPr>
            <a:picLocks noChangeAspect="1"/>
          </p:cNvPicPr>
          <p:nvPr/>
        </p:nvPicPr>
        <p:blipFill>
          <a:blip r:embed="rId4"/>
          <a:stretch>
            <a:fillRect/>
          </a:stretch>
        </p:blipFill>
        <p:spPr>
          <a:xfrm>
            <a:off x="6172200" y="2031889"/>
            <a:ext cx="4143953" cy="2343477"/>
          </a:xfrm>
          <a:prstGeom prst="rect">
            <a:avLst/>
          </a:prstGeom>
        </p:spPr>
      </p:pic>
      <p:pic>
        <p:nvPicPr>
          <p:cNvPr id="7" name="Picture 6">
            <a:extLst>
              <a:ext uri="{FF2B5EF4-FFF2-40B4-BE49-F238E27FC236}">
                <a16:creationId xmlns:a16="http://schemas.microsoft.com/office/drawing/2014/main" id="{082F022E-0E44-4F49-9B30-C299D209958E}"/>
              </a:ext>
            </a:extLst>
          </p:cNvPr>
          <p:cNvPicPr>
            <a:picLocks noChangeAspect="1"/>
          </p:cNvPicPr>
          <p:nvPr/>
        </p:nvPicPr>
        <p:blipFill>
          <a:blip r:embed="rId5"/>
          <a:stretch>
            <a:fillRect/>
          </a:stretch>
        </p:blipFill>
        <p:spPr>
          <a:xfrm>
            <a:off x="6181726" y="4365840"/>
            <a:ext cx="4134427" cy="1095528"/>
          </a:xfrm>
          <a:prstGeom prst="rect">
            <a:avLst/>
          </a:prstGeom>
        </p:spPr>
      </p:pic>
    </p:spTree>
    <p:extLst>
      <p:ext uri="{BB962C8B-B14F-4D97-AF65-F5344CB8AC3E}">
        <p14:creationId xmlns:p14="http://schemas.microsoft.com/office/powerpoint/2010/main" val="677664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4"/>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6"/>
                                        </p:tgtEl>
                                        <p:attrNameLst>
                                          <p:attrName>style.visibility</p:attrName>
                                        </p:attrNameLst>
                                      </p:cBhvr>
                                      <p:to>
                                        <p:strVal val="hidden"/>
                                      </p:to>
                                    </p:set>
                                  </p:childTnLst>
                                </p:cTn>
                              </p:par>
                              <p:par>
                                <p:cTn id="23" presetID="1" presetClass="exit" presetSubtype="0" fill="hold" nodeType="withEffect">
                                  <p:stCondLst>
                                    <p:cond delay="0"/>
                                  </p:stCondLst>
                                  <p:childTnLst>
                                    <p:set>
                                      <p:cBhvr>
                                        <p:cTn id="24"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918756-9CF6-432F-88C2-CC2F9E03DAD9}"/>
              </a:ext>
            </a:extLst>
          </p:cNvPr>
          <p:cNvSpPr>
            <a:spLocks noGrp="1"/>
          </p:cNvSpPr>
          <p:nvPr>
            <p:ph type="title"/>
          </p:nvPr>
        </p:nvSpPr>
        <p:spPr/>
        <p:txBody>
          <a:bodyPr/>
          <a:lstStyle/>
          <a:p>
            <a:r>
              <a:rPr lang="en-US" dirty="0"/>
              <a:t>Memory Specific DMVs</a:t>
            </a:r>
          </a:p>
        </p:txBody>
      </p:sp>
      <p:graphicFrame>
        <p:nvGraphicFramePr>
          <p:cNvPr id="4" name="Table 4">
            <a:extLst>
              <a:ext uri="{FF2B5EF4-FFF2-40B4-BE49-F238E27FC236}">
                <a16:creationId xmlns:a16="http://schemas.microsoft.com/office/drawing/2014/main" id="{E04FD8F2-D16F-4837-A3F8-A4DAC5271497}"/>
              </a:ext>
            </a:extLst>
          </p:cNvPr>
          <p:cNvGraphicFramePr>
            <a:graphicFrameLocks noGrp="1"/>
          </p:cNvGraphicFramePr>
          <p:nvPr>
            <p:ph sz="quarter" idx="13"/>
            <p:extLst>
              <p:ext uri="{D42A27DB-BD31-4B8C-83A1-F6EECF244321}">
                <p14:modId xmlns:p14="http://schemas.microsoft.com/office/powerpoint/2010/main" val="330020092"/>
              </p:ext>
            </p:extLst>
          </p:nvPr>
        </p:nvGraphicFramePr>
        <p:xfrm>
          <a:off x="655638" y="1408113"/>
          <a:ext cx="10880725" cy="4819650"/>
        </p:xfrm>
        <a:graphic>
          <a:graphicData uri="http://schemas.openxmlformats.org/drawingml/2006/table">
            <a:tbl>
              <a:tblPr firstRow="1" bandRow="1">
                <a:tableStyleId>{9DCAF9ED-07DC-4A11-8D7F-57B35C25682E}</a:tableStyleId>
              </a:tblPr>
              <a:tblGrid>
                <a:gridCol w="3459162">
                  <a:extLst>
                    <a:ext uri="{9D8B030D-6E8A-4147-A177-3AD203B41FA5}">
                      <a16:colId xmlns:a16="http://schemas.microsoft.com/office/drawing/2014/main" val="889327413"/>
                    </a:ext>
                  </a:extLst>
                </a:gridCol>
                <a:gridCol w="7421562">
                  <a:extLst>
                    <a:ext uri="{9D8B030D-6E8A-4147-A177-3AD203B41FA5}">
                      <a16:colId xmlns:a16="http://schemas.microsoft.com/office/drawing/2014/main" val="2606811239"/>
                    </a:ext>
                  </a:extLst>
                </a:gridCol>
              </a:tblGrid>
              <a:tr h="466765">
                <a:tc>
                  <a:txBody>
                    <a:bodyPr/>
                    <a:lstStyle/>
                    <a:p>
                      <a:r>
                        <a:rPr lang="en-US" sz="1800" dirty="0"/>
                        <a:t>DMV Name</a:t>
                      </a:r>
                    </a:p>
                  </a:txBody>
                  <a:tcPr/>
                </a:tc>
                <a:tc>
                  <a:txBody>
                    <a:bodyPr/>
                    <a:lstStyle/>
                    <a:p>
                      <a:r>
                        <a:rPr lang="en-US" sz="1800" dirty="0"/>
                        <a:t>Purpose</a:t>
                      </a:r>
                    </a:p>
                  </a:txBody>
                  <a:tcPr/>
                </a:tc>
                <a:extLst>
                  <a:ext uri="{0D108BD9-81ED-4DB2-BD59-A6C34878D82A}">
                    <a16:rowId xmlns:a16="http://schemas.microsoft.com/office/drawing/2014/main" val="1104598818"/>
                  </a:ext>
                </a:extLst>
              </a:tr>
              <a:tr h="805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800" baseline="0" dirty="0">
                          <a:solidFill>
                            <a:schemeClr val="accent4"/>
                          </a:solidFill>
                        </a:rPr>
                        <a:t>sys.dm_os_process_memory </a:t>
                      </a:r>
                      <a:r>
                        <a:rPr lang="en-US" sz="1800" baseline="0" dirty="0">
                          <a:solidFill>
                            <a:schemeClr val="accent4"/>
                          </a:solidFill>
                        </a:rPr>
                        <a:t> </a:t>
                      </a:r>
                      <a:endParaRPr lang="en-US" sz="1800" dirty="0">
                        <a:solidFill>
                          <a:schemeClr val="accent4"/>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Most memory allocations that are attributed to the SQL Server</a:t>
                      </a:r>
                    </a:p>
                  </a:txBody>
                  <a:tcPr/>
                </a:tc>
                <a:extLst>
                  <a:ext uri="{0D108BD9-81ED-4DB2-BD59-A6C34878D82A}">
                    <a16:rowId xmlns:a16="http://schemas.microsoft.com/office/drawing/2014/main" val="2461584815"/>
                  </a:ext>
                </a:extLst>
              </a:tr>
              <a:tr h="11509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accent4"/>
                          </a:solidFill>
                        </a:rPr>
                        <a:t>sys.dm_os_memory_brokers </a:t>
                      </a:r>
                      <a:endParaRPr lang="en-US" sz="1800" dirty="0">
                        <a:solidFill>
                          <a:schemeClr val="accent4"/>
                        </a:solidFill>
                      </a:endParaRPr>
                    </a:p>
                  </a:txBody>
                  <a:tcPr/>
                </a:tc>
                <a:tc>
                  <a:txBody>
                    <a:bodyPr/>
                    <a:lstStyle/>
                    <a:p>
                      <a:r>
                        <a:rPr lang="en-US" sz="1800" dirty="0"/>
                        <a:t>Memory brokers fairly distribute memory allocations between various components within SQL Server, based on current and projected usage.</a:t>
                      </a:r>
                    </a:p>
                  </a:txBody>
                  <a:tcPr/>
                </a:tc>
                <a:extLst>
                  <a:ext uri="{0D108BD9-81ED-4DB2-BD59-A6C34878D82A}">
                    <a16:rowId xmlns:a16="http://schemas.microsoft.com/office/drawing/2014/main" val="3701330465"/>
                  </a:ext>
                </a:extLst>
              </a:tr>
              <a:tr h="805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accent4"/>
                          </a:solidFill>
                        </a:rPr>
                        <a:t>sys.dm_os_loaded_modules </a:t>
                      </a:r>
                      <a:endParaRPr lang="en-US" sz="1800" dirty="0">
                        <a:solidFill>
                          <a:schemeClr val="accent4"/>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Returns a row for each module loaded into the server address space</a:t>
                      </a:r>
                    </a:p>
                  </a:txBody>
                  <a:tcPr/>
                </a:tc>
                <a:extLst>
                  <a:ext uri="{0D108BD9-81ED-4DB2-BD59-A6C34878D82A}">
                    <a16:rowId xmlns:a16="http://schemas.microsoft.com/office/drawing/2014/main" val="3878561521"/>
                  </a:ext>
                </a:extLst>
              </a:tr>
              <a:tr h="805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accent4"/>
                          </a:solidFill>
                        </a:rPr>
                        <a:t>sys.dm_os_memory_objects </a:t>
                      </a:r>
                      <a:endParaRPr lang="en-US" sz="1800" dirty="0">
                        <a:solidFill>
                          <a:schemeClr val="accent4"/>
                        </a:solidFill>
                      </a:endParaRPr>
                    </a:p>
                  </a:txBody>
                  <a:tcPr/>
                </a:tc>
                <a:tc>
                  <a:txBody>
                    <a:bodyPr/>
                    <a:lstStyle/>
                    <a:p>
                      <a:r>
                        <a:rPr lang="en-US" sz="1800" dirty="0"/>
                        <a:t>Returns the set of all memory clerks that are currently active in the instance of SQL Server</a:t>
                      </a:r>
                    </a:p>
                  </a:txBody>
                  <a:tcPr/>
                </a:tc>
                <a:extLst>
                  <a:ext uri="{0D108BD9-81ED-4DB2-BD59-A6C34878D82A}">
                    <a16:rowId xmlns:a16="http://schemas.microsoft.com/office/drawing/2014/main" val="2525885684"/>
                  </a:ext>
                </a:extLst>
              </a:tr>
              <a:tr h="805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accent4"/>
                          </a:solidFill>
                        </a:rPr>
                        <a:t>sys.dm_os_memory_clerks </a:t>
                      </a:r>
                      <a:endParaRPr lang="en-US" sz="1800" dirty="0">
                        <a:solidFill>
                          <a:schemeClr val="accent4"/>
                        </a:solidFill>
                      </a:endParaRPr>
                    </a:p>
                  </a:txBody>
                  <a:tcPr/>
                </a:tc>
                <a:tc>
                  <a:txBody>
                    <a:bodyPr/>
                    <a:lstStyle/>
                    <a:p>
                      <a:r>
                        <a:rPr lang="en-US" sz="1800" dirty="0"/>
                        <a:t>Returns memory objects that are currently allocated by SQL Server. </a:t>
                      </a:r>
                    </a:p>
                  </a:txBody>
                  <a:tcPr/>
                </a:tc>
                <a:extLst>
                  <a:ext uri="{0D108BD9-81ED-4DB2-BD59-A6C34878D82A}">
                    <a16:rowId xmlns:a16="http://schemas.microsoft.com/office/drawing/2014/main" val="3232745550"/>
                  </a:ext>
                </a:extLst>
              </a:tr>
            </a:tbl>
          </a:graphicData>
        </a:graphic>
      </p:graphicFrame>
    </p:spTree>
    <p:extLst>
      <p:ext uri="{BB962C8B-B14F-4D97-AF65-F5344CB8AC3E}">
        <p14:creationId xmlns:p14="http://schemas.microsoft.com/office/powerpoint/2010/main" val="42490431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A0AC06E-1459-4667-8F80-7C669263129C}"/>
              </a:ext>
            </a:extLst>
          </p:cNvPr>
          <p:cNvSpPr>
            <a:spLocks noGrp="1"/>
          </p:cNvSpPr>
          <p:nvPr>
            <p:ph type="title"/>
          </p:nvPr>
        </p:nvSpPr>
        <p:spPr/>
        <p:txBody>
          <a:bodyPr/>
          <a:lstStyle/>
          <a:p>
            <a:r>
              <a:rPr lang="en-US" dirty="0"/>
              <a:t>Ring Buffers with System Health data (status and OOM)</a:t>
            </a:r>
          </a:p>
        </p:txBody>
      </p:sp>
      <p:sp>
        <p:nvSpPr>
          <p:cNvPr id="6" name="Text Placeholder 1">
            <a:extLst>
              <a:ext uri="{FF2B5EF4-FFF2-40B4-BE49-F238E27FC236}">
                <a16:creationId xmlns:a16="http://schemas.microsoft.com/office/drawing/2014/main" id="{51320AEC-09AC-4450-9988-747E8272E170}"/>
              </a:ext>
            </a:extLst>
          </p:cNvPr>
          <p:cNvSpPr>
            <a:spLocks noGrp="1"/>
          </p:cNvSpPr>
          <p:nvPr>
            <p:ph sz="quarter" idx="13"/>
          </p:nvPr>
        </p:nvSpPr>
        <p:spPr/>
        <p:txBody>
          <a:bodyPr/>
          <a:lstStyle/>
          <a:p>
            <a:pPr marL="0" indent="0">
              <a:buNone/>
            </a:pPr>
            <a:r>
              <a:rPr lang="en-US" sz="2400" dirty="0">
                <a:solidFill>
                  <a:schemeClr val="tx1"/>
                </a:solidFill>
              </a:rPr>
              <a:t>Microsoft has not officially documented the </a:t>
            </a:r>
            <a:r>
              <a:rPr lang="en-US" sz="2400" dirty="0">
                <a:solidFill>
                  <a:schemeClr val="accent4"/>
                </a:solidFill>
              </a:rPr>
              <a:t>sys.dm_os_ring_buffers </a:t>
            </a:r>
            <a:r>
              <a:rPr lang="en-US" sz="2400" dirty="0">
                <a:solidFill>
                  <a:schemeClr val="tx1"/>
                </a:solidFill>
              </a:rPr>
              <a:t>DMV, however you can query it for many different types of records.</a:t>
            </a:r>
          </a:p>
          <a:p>
            <a:pPr marL="0" indent="0">
              <a:buNone/>
            </a:pPr>
            <a:r>
              <a:rPr lang="en-US" sz="2400" dirty="0">
                <a:solidFill>
                  <a:schemeClr val="tx1"/>
                </a:solidFill>
              </a:rPr>
              <a:t>Examples of using the </a:t>
            </a:r>
            <a:r>
              <a:rPr lang="en-US" sz="2400" dirty="0">
                <a:solidFill>
                  <a:schemeClr val="accent4"/>
                </a:solidFill>
              </a:rPr>
              <a:t>sys.dm_os_ring_buffers </a:t>
            </a:r>
            <a:r>
              <a:rPr lang="en-US" sz="2400" dirty="0">
                <a:solidFill>
                  <a:schemeClr val="tx1"/>
                </a:solidFill>
              </a:rPr>
              <a:t>DMV to examine:</a:t>
            </a:r>
          </a:p>
          <a:p>
            <a:r>
              <a:rPr lang="en-US" sz="2400" dirty="0">
                <a:solidFill>
                  <a:schemeClr val="tx1"/>
                </a:solidFill>
              </a:rPr>
              <a:t>Current memory pressure as reported by system health. </a:t>
            </a:r>
          </a:p>
          <a:p>
            <a:r>
              <a:rPr lang="en-US" sz="2400" dirty="0">
                <a:solidFill>
                  <a:schemeClr val="tx1"/>
                </a:solidFill>
              </a:rPr>
              <a:t>If there have been any Out of Memory (OOM) reports.</a:t>
            </a:r>
          </a:p>
        </p:txBody>
      </p:sp>
      <p:sp>
        <p:nvSpPr>
          <p:cNvPr id="4" name="Rectangle 3">
            <a:extLst>
              <a:ext uri="{FF2B5EF4-FFF2-40B4-BE49-F238E27FC236}">
                <a16:creationId xmlns:a16="http://schemas.microsoft.com/office/drawing/2014/main" id="{AAB03F7F-343B-4E95-BF38-DBAA343A0426}"/>
              </a:ext>
            </a:extLst>
          </p:cNvPr>
          <p:cNvSpPr/>
          <p:nvPr/>
        </p:nvSpPr>
        <p:spPr>
          <a:xfrm>
            <a:off x="658368" y="3653135"/>
            <a:ext cx="10880725" cy="2214265"/>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SELECT</a:t>
            </a:r>
            <a:r>
              <a:rPr lang="en-US" dirty="0">
                <a:solidFill>
                  <a:srgbClr val="000000"/>
                </a:solidFill>
                <a:latin typeface="Consolas" panose="020B0609020204030204" pitchFamily="49" charset="0"/>
              </a:rPr>
              <a:t> </a:t>
            </a:r>
            <a:r>
              <a:rPr lang="en-US" dirty="0">
                <a:solidFill>
                  <a:srgbClr val="FF00FF"/>
                </a:solidFill>
                <a:latin typeface="Consolas" panose="020B0609020204030204" pitchFamily="49" charset="0"/>
              </a:rPr>
              <a:t>CAST</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record </a:t>
            </a:r>
            <a:r>
              <a:rPr lang="en-US" dirty="0">
                <a:solidFill>
                  <a:srgbClr val="0000FF"/>
                </a:solidFill>
                <a:latin typeface="Consolas" panose="020B0609020204030204" pitchFamily="49" charset="0"/>
              </a:rPr>
              <a:t>AS</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XML</a:t>
            </a:r>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a:p>
            <a:r>
              <a:rPr lang="en-US" dirty="0">
                <a:solidFill>
                  <a:srgbClr val="0000FF"/>
                </a:solidFill>
                <a:latin typeface="Consolas" panose="020B0609020204030204" pitchFamily="49" charset="0"/>
              </a:rPr>
              <a:t>FROM   </a:t>
            </a:r>
            <a:r>
              <a:rPr lang="en-US" dirty="0">
                <a:solidFill>
                  <a:schemeClr val="accent4"/>
                </a:solidFill>
                <a:latin typeface="Consolas" panose="020B0609020204030204" pitchFamily="49" charset="0"/>
              </a:rPr>
              <a:t>sys.dm_os_ring_buffers</a:t>
            </a:r>
          </a:p>
          <a:p>
            <a:r>
              <a:rPr lang="en-US" dirty="0">
                <a:solidFill>
                  <a:srgbClr val="0000FF"/>
                </a:solidFill>
                <a:latin typeface="Consolas" panose="020B0609020204030204" pitchFamily="49" charset="0"/>
              </a:rPr>
              <a:t>WHERE</a:t>
            </a:r>
            <a:r>
              <a:rPr lang="en-US" dirty="0">
                <a:solidFill>
                  <a:srgbClr val="000000"/>
                </a:solidFill>
                <a:latin typeface="Consolas" panose="020B0609020204030204" pitchFamily="49" charset="0"/>
              </a:rPr>
              <a:t>  ring_buffer_type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FF0000"/>
                </a:solidFill>
                <a:latin typeface="Consolas" panose="020B0609020204030204" pitchFamily="49" charset="0"/>
              </a:rPr>
              <a:t>'RING_BUFFER_RESOURCE_MONITOR’</a:t>
            </a:r>
            <a:r>
              <a:rPr lang="en-US" dirty="0">
                <a:solidFill>
                  <a:srgbClr val="808080"/>
                </a:solidFill>
                <a:latin typeface="Consolas" panose="020B0609020204030204" pitchFamily="49" charset="0"/>
              </a:rPr>
              <a:t>;</a:t>
            </a:r>
          </a:p>
          <a:p>
            <a:endParaRPr lang="en-US" dirty="0">
              <a:solidFill>
                <a:srgbClr val="808080"/>
              </a:solidFill>
              <a:latin typeface="Consolas" panose="020B0609020204030204" pitchFamily="49" charset="0"/>
            </a:endParaRPr>
          </a:p>
          <a:p>
            <a:r>
              <a:rPr lang="en-US" dirty="0">
                <a:solidFill>
                  <a:srgbClr val="0000FF"/>
                </a:solidFill>
                <a:latin typeface="Consolas" panose="020B0609020204030204" pitchFamily="49" charset="0"/>
              </a:rPr>
              <a:t>SELECT</a:t>
            </a:r>
            <a:r>
              <a:rPr lang="en-US" dirty="0">
                <a:solidFill>
                  <a:srgbClr val="000000"/>
                </a:solidFill>
                <a:latin typeface="Consolas" panose="020B0609020204030204" pitchFamily="49" charset="0"/>
              </a:rPr>
              <a:t> record</a:t>
            </a:r>
          </a:p>
          <a:p>
            <a:r>
              <a:rPr lang="en-US" dirty="0">
                <a:solidFill>
                  <a:srgbClr val="0000FF"/>
                </a:solidFill>
                <a:latin typeface="Consolas" panose="020B0609020204030204" pitchFamily="49" charset="0"/>
              </a:rPr>
              <a:t>FROM   </a:t>
            </a:r>
            <a:r>
              <a:rPr lang="en-US" dirty="0">
                <a:solidFill>
                  <a:schemeClr val="accent4"/>
                </a:solidFill>
                <a:latin typeface="Consolas" panose="020B0609020204030204" pitchFamily="49" charset="0"/>
              </a:rPr>
              <a:t>sys.dm_os_ring_buffers</a:t>
            </a:r>
          </a:p>
          <a:p>
            <a:r>
              <a:rPr lang="en-US" dirty="0">
                <a:solidFill>
                  <a:srgbClr val="0000FF"/>
                </a:solidFill>
                <a:latin typeface="Consolas" panose="020B0609020204030204" pitchFamily="49" charset="0"/>
              </a:rPr>
              <a:t>WHERE</a:t>
            </a:r>
            <a:r>
              <a:rPr lang="en-US" dirty="0">
                <a:solidFill>
                  <a:srgbClr val="000000"/>
                </a:solidFill>
                <a:latin typeface="Consolas" panose="020B0609020204030204" pitchFamily="49" charset="0"/>
              </a:rPr>
              <a:t>  ring_buffer_type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FF0000"/>
                </a:solidFill>
                <a:latin typeface="Consolas" panose="020B0609020204030204" pitchFamily="49" charset="0"/>
              </a:rPr>
              <a:t>'RING_BUFFER_OOM'</a:t>
            </a:r>
            <a:r>
              <a:rPr lang="en-US" dirty="0">
                <a:solidFill>
                  <a:srgbClr val="808080"/>
                </a:solidFill>
                <a:latin typeface="Consolas" panose="020B0609020204030204" pitchFamily="49" charset="0"/>
              </a:rPr>
              <a:t>;</a:t>
            </a:r>
          </a:p>
        </p:txBody>
      </p:sp>
    </p:spTree>
    <p:extLst>
      <p:ext uri="{BB962C8B-B14F-4D97-AF65-F5344CB8AC3E}">
        <p14:creationId xmlns:p14="http://schemas.microsoft.com/office/powerpoint/2010/main" val="40470777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9ECEAE-0829-459D-82A0-0A45218006E1}"/>
              </a:ext>
            </a:extLst>
          </p:cNvPr>
          <p:cNvSpPr>
            <a:spLocks noGrp="1"/>
          </p:cNvSpPr>
          <p:nvPr>
            <p:ph type="title"/>
          </p:nvPr>
        </p:nvSpPr>
        <p:spPr/>
        <p:txBody>
          <a:bodyPr/>
          <a:lstStyle/>
          <a:p>
            <a:r>
              <a:rPr lang="en-US" dirty="0"/>
              <a:t>SQL Error Log</a:t>
            </a:r>
          </a:p>
        </p:txBody>
      </p:sp>
      <p:pic>
        <p:nvPicPr>
          <p:cNvPr id="6" name="Picture 5" descr="A screenshot of text&#10;&#10;Description automatically generated">
            <a:extLst>
              <a:ext uri="{FF2B5EF4-FFF2-40B4-BE49-F238E27FC236}">
                <a16:creationId xmlns:a16="http://schemas.microsoft.com/office/drawing/2014/main" id="{18ED1204-F156-4DF1-B4B1-72448BAEC9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400" y="1722439"/>
            <a:ext cx="5699059" cy="4191000"/>
          </a:xfrm>
          <a:prstGeom prst="rect">
            <a:avLst/>
          </a:prstGeom>
        </p:spPr>
      </p:pic>
    </p:spTree>
    <p:extLst>
      <p:ext uri="{BB962C8B-B14F-4D97-AF65-F5344CB8AC3E}">
        <p14:creationId xmlns:p14="http://schemas.microsoft.com/office/powerpoint/2010/main" val="20495938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Monitoring SQL Server Memory</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endParaRPr lang="en-US" dirty="0"/>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563492871"/>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025230849"/>
              </p:ext>
            </p:extLst>
          </p:nvPr>
        </p:nvGraphicFramePr>
        <p:xfrm>
          <a:off x="655638" y="1408113"/>
          <a:ext cx="10880725" cy="38496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CPU Architecture</a:t>
            </a:r>
          </a:p>
          <a:p>
            <a:r>
              <a:rPr lang="en-US" dirty="0"/>
              <a:t>Processor Configuration Settings</a:t>
            </a:r>
          </a:p>
          <a:p>
            <a:endParaRPr lang="en-US" dirty="0"/>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799C7E-403F-4B1F-BF0C-7B4B77BEEFB4}"/>
              </a:ext>
            </a:extLst>
          </p:cNvPr>
          <p:cNvSpPr/>
          <p:nvPr/>
        </p:nvSpPr>
        <p:spPr bwMode="auto">
          <a:xfrm>
            <a:off x="818617" y="2221175"/>
            <a:ext cx="3361593" cy="2838678"/>
          </a:xfrm>
          <a:prstGeom prst="rect">
            <a:avLst/>
          </a:prstGeom>
          <a:solidFill>
            <a:schemeClr val="tx2"/>
          </a:solidFill>
          <a:ln w="19050" cap="flat" cmpd="sng" algn="ctr">
            <a:solidFill>
              <a:schemeClr val="accent1"/>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37C70353-7721-4FFF-A2F2-C83042469A4F}"/>
              </a:ext>
            </a:extLst>
          </p:cNvPr>
          <p:cNvGrpSpPr/>
          <p:nvPr/>
        </p:nvGrpSpPr>
        <p:grpSpPr>
          <a:xfrm>
            <a:off x="941439" y="2295877"/>
            <a:ext cx="3137487" cy="3136321"/>
            <a:chOff x="1847722" y="1287462"/>
            <a:chExt cx="3200400" cy="3199211"/>
          </a:xfrm>
        </p:grpSpPr>
        <p:sp>
          <p:nvSpPr>
            <p:cNvPr id="6" name="Rectangle 5">
              <a:extLst>
                <a:ext uri="{FF2B5EF4-FFF2-40B4-BE49-F238E27FC236}">
                  <a16:creationId xmlns:a16="http://schemas.microsoft.com/office/drawing/2014/main" id="{02FCBEA4-C09B-4451-98A7-D752BBAC8243}"/>
                </a:ext>
              </a:extLst>
            </p:cNvPr>
            <p:cNvSpPr/>
            <p:nvPr/>
          </p:nvSpPr>
          <p:spPr>
            <a:xfrm>
              <a:off x="2893518" y="4106862"/>
              <a:ext cx="1163038"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0E715F"/>
                  </a:solidFill>
                  <a:effectLst>
                    <a:innerShdw blurRad="69850" dist="43180" dir="5400000">
                      <a:srgbClr val="000000">
                        <a:alpha val="65000"/>
                      </a:srgbClr>
                    </a:innerShdw>
                  </a:effectLst>
                  <a:latin typeface="Calibri" panose="020F0502020204030204" pitchFamily="34" charset="0"/>
                </a:rPr>
                <a:t>Socket</a:t>
              </a:r>
            </a:p>
          </p:txBody>
        </p:sp>
        <p:sp>
          <p:nvSpPr>
            <p:cNvPr id="7" name="Rectangle: Rounded Corners 6">
              <a:extLst>
                <a:ext uri="{FF2B5EF4-FFF2-40B4-BE49-F238E27FC236}">
                  <a16:creationId xmlns:a16="http://schemas.microsoft.com/office/drawing/2014/main" id="{8439030A-E1A5-4378-907E-699FDBEDC317}"/>
                </a:ext>
              </a:extLst>
            </p:cNvPr>
            <p:cNvSpPr/>
            <p:nvPr/>
          </p:nvSpPr>
          <p:spPr bwMode="auto">
            <a:xfrm>
              <a:off x="1847722" y="1287462"/>
              <a:ext cx="3200400" cy="2743200"/>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93816F5A-266B-4726-B7D1-B6E6990B2475}"/>
                </a:ext>
              </a:extLst>
            </p:cNvPr>
            <p:cNvSpPr/>
            <p:nvPr/>
          </p:nvSpPr>
          <p:spPr>
            <a:xfrm>
              <a:off x="2561120" y="1288668"/>
              <a:ext cx="1773604"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Processor Chip</a:t>
              </a:r>
              <a:endParaRPr lang="en-US" sz="1961"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grpSp>
          <p:nvGrpSpPr>
            <p:cNvPr id="25" name="Group 24">
              <a:extLst>
                <a:ext uri="{FF2B5EF4-FFF2-40B4-BE49-F238E27FC236}">
                  <a16:creationId xmlns:a16="http://schemas.microsoft.com/office/drawing/2014/main" id="{53E21CBC-8FF4-48DD-B57D-1045F9E1AAEE}"/>
                </a:ext>
              </a:extLst>
            </p:cNvPr>
            <p:cNvGrpSpPr/>
            <p:nvPr/>
          </p:nvGrpSpPr>
          <p:grpSpPr>
            <a:xfrm>
              <a:off x="2027237" y="1668462"/>
              <a:ext cx="1295400" cy="1047890"/>
              <a:chOff x="2103437" y="1897062"/>
              <a:chExt cx="1295400" cy="1047890"/>
            </a:xfrm>
          </p:grpSpPr>
          <p:sp>
            <p:nvSpPr>
              <p:cNvPr id="22" name="Rectangle: Rounded Corners 21">
                <a:extLst>
                  <a:ext uri="{FF2B5EF4-FFF2-40B4-BE49-F238E27FC236}">
                    <a16:creationId xmlns:a16="http://schemas.microsoft.com/office/drawing/2014/main" id="{A75B8CEE-EC4B-4637-8AA7-2800D79D0E86}"/>
                  </a:ext>
                </a:extLst>
              </p:cNvPr>
              <p:cNvSpPr/>
              <p:nvPr/>
            </p:nvSpPr>
            <p:spPr bwMode="auto">
              <a:xfrm>
                <a:off x="2103437" y="1897062"/>
                <a:ext cx="1295400" cy="990600"/>
              </a:xfrm>
              <a:prstGeom prst="round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4D4CD0AC-AC6E-4DE8-AD30-5AAB96313234}"/>
                  </a:ext>
                </a:extLst>
              </p:cNvPr>
              <p:cNvSpPr/>
              <p:nvPr/>
            </p:nvSpPr>
            <p:spPr>
              <a:xfrm>
                <a:off x="2186602" y="1973262"/>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13" name="Rectangle 12">
                <a:extLst>
                  <a:ext uri="{FF2B5EF4-FFF2-40B4-BE49-F238E27FC236}">
                    <a16:creationId xmlns:a16="http://schemas.microsoft.com/office/drawing/2014/main" id="{6AFD2E06-C35B-4A82-A1B7-CD795A6D2BCF}"/>
                  </a:ext>
                </a:extLst>
              </p:cNvPr>
              <p:cNvSpPr/>
              <p:nvPr/>
            </p:nvSpPr>
            <p:spPr>
              <a:xfrm>
                <a:off x="2186602" y="2301066"/>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24" name="Rectangle 23">
                <a:extLst>
                  <a:ext uri="{FF2B5EF4-FFF2-40B4-BE49-F238E27FC236}">
                    <a16:creationId xmlns:a16="http://schemas.microsoft.com/office/drawing/2014/main" id="{E12C243F-A19E-4FA4-8C9F-C632ABE5C901}"/>
                  </a:ext>
                </a:extLst>
              </p:cNvPr>
              <p:cNvSpPr/>
              <p:nvPr/>
            </p:nvSpPr>
            <p:spPr>
              <a:xfrm>
                <a:off x="2169618" y="2565141"/>
                <a:ext cx="1163038"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FFFFFF"/>
                    </a:solidFill>
                    <a:effectLst>
                      <a:innerShdw blurRad="69850" dist="43180" dir="5400000">
                        <a:srgbClr val="000000">
                          <a:alpha val="65000"/>
                        </a:srgbClr>
                      </a:innerShdw>
                    </a:effectLst>
                    <a:latin typeface="Calibri" panose="020F0502020204030204" pitchFamily="34" charset="0"/>
                  </a:rPr>
                  <a:t>Core</a:t>
                </a:r>
              </a:p>
            </p:txBody>
          </p:sp>
        </p:grpSp>
        <p:grpSp>
          <p:nvGrpSpPr>
            <p:cNvPr id="26" name="Group 25">
              <a:extLst>
                <a:ext uri="{FF2B5EF4-FFF2-40B4-BE49-F238E27FC236}">
                  <a16:creationId xmlns:a16="http://schemas.microsoft.com/office/drawing/2014/main" id="{45CB97A3-EB24-437A-9A56-AB0F9AA73934}"/>
                </a:ext>
              </a:extLst>
            </p:cNvPr>
            <p:cNvGrpSpPr/>
            <p:nvPr/>
          </p:nvGrpSpPr>
          <p:grpSpPr>
            <a:xfrm>
              <a:off x="3512488" y="1678812"/>
              <a:ext cx="1295400" cy="1047890"/>
              <a:chOff x="2103437" y="1897062"/>
              <a:chExt cx="1295400" cy="1047890"/>
            </a:xfrm>
          </p:grpSpPr>
          <p:sp>
            <p:nvSpPr>
              <p:cNvPr id="27" name="Rectangle: Rounded Corners 26">
                <a:extLst>
                  <a:ext uri="{FF2B5EF4-FFF2-40B4-BE49-F238E27FC236}">
                    <a16:creationId xmlns:a16="http://schemas.microsoft.com/office/drawing/2014/main" id="{0D4725F6-D566-4AA1-85FB-91F71BF1EE4A}"/>
                  </a:ext>
                </a:extLst>
              </p:cNvPr>
              <p:cNvSpPr/>
              <p:nvPr/>
            </p:nvSpPr>
            <p:spPr bwMode="auto">
              <a:xfrm>
                <a:off x="2103437" y="1897062"/>
                <a:ext cx="1295400" cy="990600"/>
              </a:xfrm>
              <a:prstGeom prst="round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1DE5C652-64C5-4656-A152-3D14D0940098}"/>
                  </a:ext>
                </a:extLst>
              </p:cNvPr>
              <p:cNvSpPr/>
              <p:nvPr/>
            </p:nvSpPr>
            <p:spPr>
              <a:xfrm>
                <a:off x="2186602" y="1973262"/>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29" name="Rectangle 28">
                <a:extLst>
                  <a:ext uri="{FF2B5EF4-FFF2-40B4-BE49-F238E27FC236}">
                    <a16:creationId xmlns:a16="http://schemas.microsoft.com/office/drawing/2014/main" id="{FA9FFAA8-F80B-4C63-8CE0-B5B85E070860}"/>
                  </a:ext>
                </a:extLst>
              </p:cNvPr>
              <p:cNvSpPr/>
              <p:nvPr/>
            </p:nvSpPr>
            <p:spPr>
              <a:xfrm>
                <a:off x="2186602" y="2301066"/>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0" name="Rectangle 29">
                <a:extLst>
                  <a:ext uri="{FF2B5EF4-FFF2-40B4-BE49-F238E27FC236}">
                    <a16:creationId xmlns:a16="http://schemas.microsoft.com/office/drawing/2014/main" id="{D024D402-FC0A-4A69-95EF-D8652FA9091C}"/>
                  </a:ext>
                </a:extLst>
              </p:cNvPr>
              <p:cNvSpPr/>
              <p:nvPr/>
            </p:nvSpPr>
            <p:spPr>
              <a:xfrm>
                <a:off x="2169618" y="2565141"/>
                <a:ext cx="1163038"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FFFFFF"/>
                    </a:solidFill>
                    <a:effectLst>
                      <a:innerShdw blurRad="69850" dist="43180" dir="5400000">
                        <a:srgbClr val="000000">
                          <a:alpha val="65000"/>
                        </a:srgbClr>
                      </a:innerShdw>
                    </a:effectLst>
                    <a:latin typeface="Calibri" panose="020F0502020204030204" pitchFamily="34" charset="0"/>
                  </a:rPr>
                  <a:t>Core</a:t>
                </a:r>
              </a:p>
            </p:txBody>
          </p:sp>
        </p:grpSp>
        <p:grpSp>
          <p:nvGrpSpPr>
            <p:cNvPr id="31" name="Group 30">
              <a:extLst>
                <a:ext uri="{FF2B5EF4-FFF2-40B4-BE49-F238E27FC236}">
                  <a16:creationId xmlns:a16="http://schemas.microsoft.com/office/drawing/2014/main" id="{7A66930E-E323-4C72-ADFA-08FACF0B8E1A}"/>
                </a:ext>
              </a:extLst>
            </p:cNvPr>
            <p:cNvGrpSpPr/>
            <p:nvPr/>
          </p:nvGrpSpPr>
          <p:grpSpPr>
            <a:xfrm>
              <a:off x="2044756" y="2831267"/>
              <a:ext cx="1295400" cy="1047890"/>
              <a:chOff x="2103437" y="1897062"/>
              <a:chExt cx="1295400" cy="1047890"/>
            </a:xfrm>
          </p:grpSpPr>
          <p:sp>
            <p:nvSpPr>
              <p:cNvPr id="32" name="Rectangle: Rounded Corners 31">
                <a:extLst>
                  <a:ext uri="{FF2B5EF4-FFF2-40B4-BE49-F238E27FC236}">
                    <a16:creationId xmlns:a16="http://schemas.microsoft.com/office/drawing/2014/main" id="{D1519363-C9E2-4D71-BAC4-2ED59FE6FC93}"/>
                  </a:ext>
                </a:extLst>
              </p:cNvPr>
              <p:cNvSpPr/>
              <p:nvPr/>
            </p:nvSpPr>
            <p:spPr bwMode="auto">
              <a:xfrm>
                <a:off x="2103437" y="1897062"/>
                <a:ext cx="1295400" cy="990600"/>
              </a:xfrm>
              <a:prstGeom prst="round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19EA4350-55D1-439A-913E-BB2CFD65ABB6}"/>
                  </a:ext>
                </a:extLst>
              </p:cNvPr>
              <p:cNvSpPr/>
              <p:nvPr/>
            </p:nvSpPr>
            <p:spPr>
              <a:xfrm>
                <a:off x="2186602" y="1973262"/>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4" name="Rectangle 33">
                <a:extLst>
                  <a:ext uri="{FF2B5EF4-FFF2-40B4-BE49-F238E27FC236}">
                    <a16:creationId xmlns:a16="http://schemas.microsoft.com/office/drawing/2014/main" id="{4EF2341E-A7D0-44DB-9380-03A45D417261}"/>
                  </a:ext>
                </a:extLst>
              </p:cNvPr>
              <p:cNvSpPr/>
              <p:nvPr/>
            </p:nvSpPr>
            <p:spPr>
              <a:xfrm>
                <a:off x="2186602" y="2301066"/>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5" name="Rectangle 34">
                <a:extLst>
                  <a:ext uri="{FF2B5EF4-FFF2-40B4-BE49-F238E27FC236}">
                    <a16:creationId xmlns:a16="http://schemas.microsoft.com/office/drawing/2014/main" id="{792EA5D5-EB84-466C-AA5F-6C4A8603B09F}"/>
                  </a:ext>
                </a:extLst>
              </p:cNvPr>
              <p:cNvSpPr/>
              <p:nvPr/>
            </p:nvSpPr>
            <p:spPr>
              <a:xfrm>
                <a:off x="2169618" y="2565141"/>
                <a:ext cx="1163038"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FFFFFF"/>
                    </a:solidFill>
                    <a:effectLst>
                      <a:innerShdw blurRad="69850" dist="43180" dir="5400000">
                        <a:srgbClr val="000000">
                          <a:alpha val="65000"/>
                        </a:srgbClr>
                      </a:innerShdw>
                    </a:effectLst>
                    <a:latin typeface="Calibri" panose="020F0502020204030204" pitchFamily="34" charset="0"/>
                  </a:rPr>
                  <a:t>Core</a:t>
                </a:r>
              </a:p>
            </p:txBody>
          </p:sp>
        </p:grpSp>
        <p:grpSp>
          <p:nvGrpSpPr>
            <p:cNvPr id="36" name="Group 35">
              <a:extLst>
                <a:ext uri="{FF2B5EF4-FFF2-40B4-BE49-F238E27FC236}">
                  <a16:creationId xmlns:a16="http://schemas.microsoft.com/office/drawing/2014/main" id="{F034768C-6D22-4FDE-B096-D0C9302C945A}"/>
                </a:ext>
              </a:extLst>
            </p:cNvPr>
            <p:cNvGrpSpPr/>
            <p:nvPr/>
          </p:nvGrpSpPr>
          <p:grpSpPr>
            <a:xfrm>
              <a:off x="3537190" y="2826092"/>
              <a:ext cx="1295400" cy="1047890"/>
              <a:chOff x="2103437" y="1897062"/>
              <a:chExt cx="1295400" cy="1047890"/>
            </a:xfrm>
          </p:grpSpPr>
          <p:sp>
            <p:nvSpPr>
              <p:cNvPr id="37" name="Rectangle: Rounded Corners 36">
                <a:extLst>
                  <a:ext uri="{FF2B5EF4-FFF2-40B4-BE49-F238E27FC236}">
                    <a16:creationId xmlns:a16="http://schemas.microsoft.com/office/drawing/2014/main" id="{27EE0EF6-4DCE-4D7C-8587-27EA9939D50B}"/>
                  </a:ext>
                </a:extLst>
              </p:cNvPr>
              <p:cNvSpPr/>
              <p:nvPr/>
            </p:nvSpPr>
            <p:spPr bwMode="auto">
              <a:xfrm>
                <a:off x="2103437" y="1897062"/>
                <a:ext cx="1295400" cy="990600"/>
              </a:xfrm>
              <a:prstGeom prst="round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4786CCC8-9126-47CE-9D93-3A472CBFC1C7}"/>
                  </a:ext>
                </a:extLst>
              </p:cNvPr>
              <p:cNvSpPr/>
              <p:nvPr/>
            </p:nvSpPr>
            <p:spPr>
              <a:xfrm>
                <a:off x="2186602" y="1973262"/>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9" name="Rectangle 38">
                <a:extLst>
                  <a:ext uri="{FF2B5EF4-FFF2-40B4-BE49-F238E27FC236}">
                    <a16:creationId xmlns:a16="http://schemas.microsoft.com/office/drawing/2014/main" id="{093452EF-CE1E-40C6-938B-D60B8120D466}"/>
                  </a:ext>
                </a:extLst>
              </p:cNvPr>
              <p:cNvSpPr/>
              <p:nvPr/>
            </p:nvSpPr>
            <p:spPr>
              <a:xfrm>
                <a:off x="2186602" y="2301066"/>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40" name="Rectangle 39">
                <a:extLst>
                  <a:ext uri="{FF2B5EF4-FFF2-40B4-BE49-F238E27FC236}">
                    <a16:creationId xmlns:a16="http://schemas.microsoft.com/office/drawing/2014/main" id="{AA0D6A29-136B-4C13-81D3-66D992B5C483}"/>
                  </a:ext>
                </a:extLst>
              </p:cNvPr>
              <p:cNvSpPr/>
              <p:nvPr/>
            </p:nvSpPr>
            <p:spPr>
              <a:xfrm>
                <a:off x="2169618" y="2565141"/>
                <a:ext cx="1163038"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FFFFFF"/>
                    </a:solidFill>
                    <a:effectLst>
                      <a:innerShdw blurRad="69850" dist="43180" dir="5400000">
                        <a:srgbClr val="000000">
                          <a:alpha val="65000"/>
                        </a:srgbClr>
                      </a:innerShdw>
                    </a:effectLst>
                    <a:latin typeface="Calibri" panose="020F0502020204030204" pitchFamily="34" charset="0"/>
                  </a:rPr>
                  <a:t>Core</a:t>
                </a:r>
              </a:p>
            </p:txBody>
          </p:sp>
        </p:grpSp>
      </p:grpSp>
      <p:sp>
        <p:nvSpPr>
          <p:cNvPr id="92" name="Title 1">
            <a:extLst>
              <a:ext uri="{FF2B5EF4-FFF2-40B4-BE49-F238E27FC236}">
                <a16:creationId xmlns:a16="http://schemas.microsoft.com/office/drawing/2014/main" id="{D4A4036A-10FE-4408-ABE5-271DD01B79D5}"/>
              </a:ext>
            </a:extLst>
          </p:cNvPr>
          <p:cNvSpPr>
            <a:spLocks noGrp="1"/>
          </p:cNvSpPr>
          <p:nvPr>
            <p:ph type="title"/>
          </p:nvPr>
        </p:nvSpPr>
        <p:spPr>
          <a:xfrm>
            <a:off x="469204" y="295252"/>
            <a:ext cx="10971244" cy="1142838"/>
          </a:xfrm>
        </p:spPr>
        <p:txBody>
          <a:bodyPr/>
          <a:lstStyle/>
          <a:p>
            <a:pPr defTabSz="932742">
              <a:lnSpc>
                <a:spcPts val="3620"/>
              </a:lnSpc>
            </a:pPr>
            <a:r>
              <a:rPr lang="en-GB" sz="3200" spc="-50" dirty="0">
                <a:solidFill>
                  <a:schemeClr val="tx1"/>
                </a:solidFill>
                <a:latin typeface="Segoe UI Semibold" panose="020B0702040204020203" pitchFamily="34" charset="0"/>
                <a:cs typeface="Segoe UI Semibold" panose="020B0702040204020203" pitchFamily="34" charset="0"/>
              </a:rPr>
              <a:t>CPU Architecture</a:t>
            </a:r>
          </a:p>
        </p:txBody>
      </p:sp>
      <p:cxnSp>
        <p:nvCxnSpPr>
          <p:cNvPr id="16" name="Straight Connector 15">
            <a:extLst>
              <a:ext uri="{FF2B5EF4-FFF2-40B4-BE49-F238E27FC236}">
                <a16:creationId xmlns:a16="http://schemas.microsoft.com/office/drawing/2014/main" id="{EE35D69B-162D-43F0-86E5-9019505CD369}"/>
              </a:ext>
            </a:extLst>
          </p:cNvPr>
          <p:cNvCxnSpPr/>
          <p:nvPr/>
        </p:nvCxnSpPr>
        <p:spPr>
          <a:xfrm>
            <a:off x="4527257" y="1337342"/>
            <a:ext cx="0" cy="500503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614CCFDA-A034-499A-B7E6-3D0E320077CF}"/>
              </a:ext>
            </a:extLst>
          </p:cNvPr>
          <p:cNvSpPr txBox="1"/>
          <p:nvPr/>
        </p:nvSpPr>
        <p:spPr>
          <a:xfrm>
            <a:off x="1222436" y="1667200"/>
            <a:ext cx="2628657" cy="452590"/>
          </a:xfrm>
          <a:prstGeom prst="rect">
            <a:avLst/>
          </a:prstGeom>
          <a:noFill/>
        </p:spPr>
        <p:txBody>
          <a:bodyPr wrap="square" rtlCol="0">
            <a:spAutoFit/>
          </a:bodyPr>
          <a:lstStyle/>
          <a:p>
            <a:pPr defTabSz="896386">
              <a:defRPr/>
            </a:pPr>
            <a:r>
              <a:rPr lang="en-US" sz="2353" kern="0" dirty="0">
                <a:solidFill>
                  <a:prstClr val="black"/>
                </a:solidFill>
                <a:latin typeface="Segoe UI"/>
              </a:rPr>
              <a:t>Physical Hardware</a:t>
            </a:r>
          </a:p>
        </p:txBody>
      </p:sp>
      <p:sp>
        <p:nvSpPr>
          <p:cNvPr id="23" name="TextBox 22">
            <a:extLst>
              <a:ext uri="{FF2B5EF4-FFF2-40B4-BE49-F238E27FC236}">
                <a16:creationId xmlns:a16="http://schemas.microsoft.com/office/drawing/2014/main" id="{8058B6F6-4910-4386-953A-980EE196EE0B}"/>
              </a:ext>
            </a:extLst>
          </p:cNvPr>
          <p:cNvSpPr txBox="1"/>
          <p:nvPr/>
        </p:nvSpPr>
        <p:spPr>
          <a:xfrm>
            <a:off x="5795557" y="1708820"/>
            <a:ext cx="5247068" cy="452590"/>
          </a:xfrm>
          <a:prstGeom prst="rect">
            <a:avLst/>
          </a:prstGeom>
          <a:noFill/>
        </p:spPr>
        <p:txBody>
          <a:bodyPr wrap="square" rtlCol="0">
            <a:spAutoFit/>
          </a:bodyPr>
          <a:lstStyle/>
          <a:p>
            <a:pPr defTabSz="896386">
              <a:defRPr/>
            </a:pPr>
            <a:r>
              <a:rPr lang="en-US" sz="2353" kern="0" dirty="0">
                <a:solidFill>
                  <a:prstClr val="black"/>
                </a:solidFill>
                <a:latin typeface="Segoe UI"/>
              </a:rPr>
              <a:t>Logical Processors as seen by the OS</a:t>
            </a:r>
          </a:p>
        </p:txBody>
      </p:sp>
      <p:grpSp>
        <p:nvGrpSpPr>
          <p:cNvPr id="112" name="Group 111">
            <a:extLst>
              <a:ext uri="{FF2B5EF4-FFF2-40B4-BE49-F238E27FC236}">
                <a16:creationId xmlns:a16="http://schemas.microsoft.com/office/drawing/2014/main" id="{C239A6BD-9D70-487F-8ADC-13946009054D}"/>
              </a:ext>
            </a:extLst>
          </p:cNvPr>
          <p:cNvGrpSpPr/>
          <p:nvPr/>
        </p:nvGrpSpPr>
        <p:grpSpPr>
          <a:xfrm>
            <a:off x="5275344" y="2370578"/>
            <a:ext cx="6096209" cy="2689275"/>
            <a:chOff x="5381124" y="2417616"/>
            <a:chExt cx="6218451" cy="2743201"/>
          </a:xfrm>
        </p:grpSpPr>
        <p:grpSp>
          <p:nvGrpSpPr>
            <p:cNvPr id="21" name="Group 20">
              <a:extLst>
                <a:ext uri="{FF2B5EF4-FFF2-40B4-BE49-F238E27FC236}">
                  <a16:creationId xmlns:a16="http://schemas.microsoft.com/office/drawing/2014/main" id="{CC550D92-7DBE-4FF3-A76E-46F946EE0D45}"/>
                </a:ext>
              </a:extLst>
            </p:cNvPr>
            <p:cNvGrpSpPr/>
            <p:nvPr/>
          </p:nvGrpSpPr>
          <p:grpSpPr>
            <a:xfrm>
              <a:off x="5381124" y="2417616"/>
              <a:ext cx="6218451" cy="2743201"/>
              <a:chOff x="5078193" y="2201785"/>
              <a:chExt cx="6650525" cy="3048078"/>
            </a:xfrm>
          </p:grpSpPr>
          <p:pic>
            <p:nvPicPr>
              <p:cNvPr id="2050" name="Picture 2" descr="Icon&#10;&#10;Description automatically generated">
                <a:extLst>
                  <a:ext uri="{FF2B5EF4-FFF2-40B4-BE49-F238E27FC236}">
                    <a16:creationId xmlns:a16="http://schemas.microsoft.com/office/drawing/2014/main" id="{B52CA514-A4EF-4BE8-9FD5-461F5FE0A9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65987" y="2462613"/>
                <a:ext cx="1404476" cy="1164579"/>
              </a:xfrm>
              <a:prstGeom prst="rect">
                <a:avLst/>
              </a:prstGeom>
              <a:noFill/>
              <a:ln>
                <a:noFill/>
              </a:ln>
            </p:spPr>
          </p:pic>
          <p:pic>
            <p:nvPicPr>
              <p:cNvPr id="48" name="Picture 2" descr="Icon&#10;&#10;Description automatically generated">
                <a:extLst>
                  <a:ext uri="{FF2B5EF4-FFF2-40B4-BE49-F238E27FC236}">
                    <a16:creationId xmlns:a16="http://schemas.microsoft.com/office/drawing/2014/main" id="{12FA6FC3-BD60-4022-850B-220BFA162B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86892" y="2445631"/>
                <a:ext cx="1404476" cy="1164579"/>
              </a:xfrm>
              <a:prstGeom prst="rect">
                <a:avLst/>
              </a:prstGeom>
              <a:noFill/>
            </p:spPr>
          </p:pic>
          <p:pic>
            <p:nvPicPr>
              <p:cNvPr id="55" name="Picture 2" descr="Icon&#10;&#10;Description automatically generated">
                <a:extLst>
                  <a:ext uri="{FF2B5EF4-FFF2-40B4-BE49-F238E27FC236}">
                    <a16:creationId xmlns:a16="http://schemas.microsoft.com/office/drawing/2014/main" id="{281FD9A9-8304-439E-9617-45BA19A5C6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07796" y="2445631"/>
                <a:ext cx="1404476" cy="1164579"/>
              </a:xfrm>
              <a:prstGeom prst="rect">
                <a:avLst/>
              </a:prstGeom>
              <a:noFill/>
            </p:spPr>
          </p:pic>
          <p:pic>
            <p:nvPicPr>
              <p:cNvPr id="62" name="Picture 2" descr="Icon&#10;&#10;Description automatically generated">
                <a:extLst>
                  <a:ext uri="{FF2B5EF4-FFF2-40B4-BE49-F238E27FC236}">
                    <a16:creationId xmlns:a16="http://schemas.microsoft.com/office/drawing/2014/main" id="{B568DE97-32AA-4F01-B074-D03681F817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28700" y="2445631"/>
                <a:ext cx="1404476" cy="1164579"/>
              </a:xfrm>
              <a:prstGeom prst="rect">
                <a:avLst/>
              </a:prstGeom>
              <a:noFill/>
            </p:spPr>
          </p:pic>
          <p:pic>
            <p:nvPicPr>
              <p:cNvPr id="76" name="Picture 2" descr="Icon&#10;&#10;Description automatically generated">
                <a:extLst>
                  <a:ext uri="{FF2B5EF4-FFF2-40B4-BE49-F238E27FC236}">
                    <a16:creationId xmlns:a16="http://schemas.microsoft.com/office/drawing/2014/main" id="{32F4F9A9-2894-4A02-8409-4608E03032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16264" y="3764731"/>
                <a:ext cx="1404476" cy="1164579"/>
              </a:xfrm>
              <a:prstGeom prst="rect">
                <a:avLst/>
              </a:prstGeom>
              <a:noFill/>
            </p:spPr>
          </p:pic>
          <p:pic>
            <p:nvPicPr>
              <p:cNvPr id="83" name="Picture 2" descr="Icon&#10;&#10;Description automatically generated">
                <a:extLst>
                  <a:ext uri="{FF2B5EF4-FFF2-40B4-BE49-F238E27FC236}">
                    <a16:creationId xmlns:a16="http://schemas.microsoft.com/office/drawing/2014/main" id="{24C85CA5-48CF-41BE-9CA6-C7B59E8B53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37353" y="3764241"/>
                <a:ext cx="1404476" cy="1164579"/>
              </a:xfrm>
              <a:prstGeom prst="rect">
                <a:avLst/>
              </a:prstGeom>
              <a:noFill/>
            </p:spPr>
          </p:pic>
          <p:pic>
            <p:nvPicPr>
              <p:cNvPr id="90" name="Picture 2" descr="Icon&#10;&#10;Description automatically generated">
                <a:extLst>
                  <a:ext uri="{FF2B5EF4-FFF2-40B4-BE49-F238E27FC236}">
                    <a16:creationId xmlns:a16="http://schemas.microsoft.com/office/drawing/2014/main" id="{A2D5A6DA-B446-40F4-A5F5-D7DAAE3E09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58442" y="3763751"/>
                <a:ext cx="1404476" cy="1164579"/>
              </a:xfrm>
              <a:prstGeom prst="rect">
                <a:avLst/>
              </a:prstGeom>
              <a:noFill/>
            </p:spPr>
          </p:pic>
          <p:sp>
            <p:nvSpPr>
              <p:cNvPr id="14" name="Rectangle: Rounded Corners 13">
                <a:extLst>
                  <a:ext uri="{FF2B5EF4-FFF2-40B4-BE49-F238E27FC236}">
                    <a16:creationId xmlns:a16="http://schemas.microsoft.com/office/drawing/2014/main" id="{4456C0C8-D06B-4C92-B034-725BBAE30487}"/>
                  </a:ext>
                </a:extLst>
              </p:cNvPr>
              <p:cNvSpPr/>
              <p:nvPr/>
            </p:nvSpPr>
            <p:spPr bwMode="auto">
              <a:xfrm>
                <a:off x="5078193" y="2201785"/>
                <a:ext cx="6650525" cy="3048078"/>
              </a:xfrm>
              <a:prstGeom prst="roundRect">
                <a:avLst/>
              </a:prstGeom>
              <a:noFill/>
              <a:ln w="57150">
                <a:solidFill>
                  <a:srgbClr val="296A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0" name="Picture 2" descr="Icon&#10;&#10;Description automatically generated">
                <a:extLst>
                  <a:ext uri="{FF2B5EF4-FFF2-40B4-BE49-F238E27FC236}">
                    <a16:creationId xmlns:a16="http://schemas.microsoft.com/office/drawing/2014/main" id="{1F58F10D-CF65-4AD6-A2B2-81F536A5DD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95175" y="3763262"/>
                <a:ext cx="1404476" cy="1198570"/>
              </a:xfrm>
              <a:prstGeom prst="rect">
                <a:avLst/>
              </a:prstGeom>
              <a:noFill/>
            </p:spPr>
          </p:pic>
        </p:grpSp>
        <p:sp>
          <p:nvSpPr>
            <p:cNvPr id="97" name="TextBox 96">
              <a:extLst>
                <a:ext uri="{FF2B5EF4-FFF2-40B4-BE49-F238E27FC236}">
                  <a16:creationId xmlns:a16="http://schemas.microsoft.com/office/drawing/2014/main" id="{11DB08A2-132C-4881-AC1D-F93CF3A01F0E}"/>
                </a:ext>
              </a:extLst>
            </p:cNvPr>
            <p:cNvSpPr txBox="1"/>
            <p:nvPr/>
          </p:nvSpPr>
          <p:spPr>
            <a:xfrm>
              <a:off x="5937627" y="2888265"/>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0</a:t>
              </a:r>
            </a:p>
          </p:txBody>
        </p:sp>
        <p:sp>
          <p:nvSpPr>
            <p:cNvPr id="98" name="TextBox 97">
              <a:extLst>
                <a:ext uri="{FF2B5EF4-FFF2-40B4-BE49-F238E27FC236}">
                  <a16:creationId xmlns:a16="http://schemas.microsoft.com/office/drawing/2014/main" id="{4000D342-BA40-4FA5-918B-BB0EA6FACF4E}"/>
                </a:ext>
              </a:extLst>
            </p:cNvPr>
            <p:cNvSpPr txBox="1"/>
            <p:nvPr/>
          </p:nvSpPr>
          <p:spPr>
            <a:xfrm>
              <a:off x="7437437" y="2869398"/>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1</a:t>
              </a:r>
            </a:p>
          </p:txBody>
        </p:sp>
        <p:sp>
          <p:nvSpPr>
            <p:cNvPr id="100" name="TextBox 99">
              <a:extLst>
                <a:ext uri="{FF2B5EF4-FFF2-40B4-BE49-F238E27FC236}">
                  <a16:creationId xmlns:a16="http://schemas.microsoft.com/office/drawing/2014/main" id="{A29FD7E7-7333-4484-B400-0D349D4BEA74}"/>
                </a:ext>
              </a:extLst>
            </p:cNvPr>
            <p:cNvSpPr txBox="1"/>
            <p:nvPr/>
          </p:nvSpPr>
          <p:spPr>
            <a:xfrm>
              <a:off x="8959056" y="2869398"/>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2</a:t>
              </a:r>
            </a:p>
          </p:txBody>
        </p:sp>
        <p:sp>
          <p:nvSpPr>
            <p:cNvPr id="102" name="TextBox 101">
              <a:extLst>
                <a:ext uri="{FF2B5EF4-FFF2-40B4-BE49-F238E27FC236}">
                  <a16:creationId xmlns:a16="http://schemas.microsoft.com/office/drawing/2014/main" id="{7C6C38D3-8FE0-4933-B9D1-85CA4A38C25A}"/>
                </a:ext>
              </a:extLst>
            </p:cNvPr>
            <p:cNvSpPr txBox="1"/>
            <p:nvPr/>
          </p:nvSpPr>
          <p:spPr>
            <a:xfrm>
              <a:off x="10484418" y="2869398"/>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3</a:t>
              </a:r>
            </a:p>
          </p:txBody>
        </p:sp>
        <p:sp>
          <p:nvSpPr>
            <p:cNvPr id="104" name="TextBox 103">
              <a:extLst>
                <a:ext uri="{FF2B5EF4-FFF2-40B4-BE49-F238E27FC236}">
                  <a16:creationId xmlns:a16="http://schemas.microsoft.com/office/drawing/2014/main" id="{ED3A5964-75D7-4855-958E-AFF0942BFDB7}"/>
                </a:ext>
              </a:extLst>
            </p:cNvPr>
            <p:cNvSpPr txBox="1"/>
            <p:nvPr/>
          </p:nvSpPr>
          <p:spPr>
            <a:xfrm>
              <a:off x="5964919" y="4048321"/>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4</a:t>
              </a:r>
            </a:p>
          </p:txBody>
        </p:sp>
        <p:sp>
          <p:nvSpPr>
            <p:cNvPr id="106" name="TextBox 105">
              <a:extLst>
                <a:ext uri="{FF2B5EF4-FFF2-40B4-BE49-F238E27FC236}">
                  <a16:creationId xmlns:a16="http://schemas.microsoft.com/office/drawing/2014/main" id="{AB3F3105-06AE-44FD-8F62-C62BF1BBEB27}"/>
                </a:ext>
              </a:extLst>
            </p:cNvPr>
            <p:cNvSpPr txBox="1"/>
            <p:nvPr/>
          </p:nvSpPr>
          <p:spPr>
            <a:xfrm>
              <a:off x="7495629" y="4074776"/>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5</a:t>
              </a:r>
            </a:p>
          </p:txBody>
        </p:sp>
        <p:sp>
          <p:nvSpPr>
            <p:cNvPr id="108" name="TextBox 107">
              <a:extLst>
                <a:ext uri="{FF2B5EF4-FFF2-40B4-BE49-F238E27FC236}">
                  <a16:creationId xmlns:a16="http://schemas.microsoft.com/office/drawing/2014/main" id="{5BDB033B-27EC-4BDB-A67F-450FE4083AA1}"/>
                </a:ext>
              </a:extLst>
            </p:cNvPr>
            <p:cNvSpPr txBox="1"/>
            <p:nvPr/>
          </p:nvSpPr>
          <p:spPr>
            <a:xfrm>
              <a:off x="8983702" y="4030662"/>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6</a:t>
              </a:r>
            </a:p>
          </p:txBody>
        </p:sp>
        <p:sp>
          <p:nvSpPr>
            <p:cNvPr id="110" name="TextBox 109">
              <a:extLst>
                <a:ext uri="{FF2B5EF4-FFF2-40B4-BE49-F238E27FC236}">
                  <a16:creationId xmlns:a16="http://schemas.microsoft.com/office/drawing/2014/main" id="{3774890D-8057-4600-9BEA-5952634E510A}"/>
                </a:ext>
              </a:extLst>
            </p:cNvPr>
            <p:cNvSpPr txBox="1"/>
            <p:nvPr/>
          </p:nvSpPr>
          <p:spPr>
            <a:xfrm>
              <a:off x="10512227" y="4061415"/>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7</a:t>
              </a:r>
            </a:p>
          </p:txBody>
        </p:sp>
      </p:grpSp>
    </p:spTree>
    <p:extLst>
      <p:ext uri="{BB962C8B-B14F-4D97-AF65-F5344CB8AC3E}">
        <p14:creationId xmlns:p14="http://schemas.microsoft.com/office/powerpoint/2010/main" val="336455309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SQL Server Configura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Processor Configuration Settings And Best Practices</a:t>
            </a:r>
          </a:p>
        </p:txBody>
      </p:sp>
      <p:graphicFrame>
        <p:nvGraphicFramePr>
          <p:cNvPr id="5" name="Content Placeholder 4">
            <a:extLst>
              <a:ext uri="{FF2B5EF4-FFF2-40B4-BE49-F238E27FC236}">
                <a16:creationId xmlns:a16="http://schemas.microsoft.com/office/drawing/2014/main" id="{2D2E8373-AAFD-4F7A-9F0A-6228B1ACA3C8}"/>
              </a:ext>
            </a:extLst>
          </p:cNvPr>
          <p:cNvGraphicFramePr>
            <a:graphicFrameLocks noGrp="1"/>
          </p:cNvGraphicFramePr>
          <p:nvPr>
            <p:ph sz="quarter" idx="13"/>
            <p:extLst>
              <p:ext uri="{D42A27DB-BD31-4B8C-83A1-F6EECF244321}">
                <p14:modId xmlns:p14="http://schemas.microsoft.com/office/powerpoint/2010/main" val="2601443914"/>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173171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SQL Server Configura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MAXDOP Setting and Best Practice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1563686"/>
          </a:xfrm>
        </p:spPr>
        <p:txBody>
          <a:bodyPr>
            <a:normAutofit/>
          </a:bodyPr>
          <a:lstStyle/>
          <a:p>
            <a:pPr marL="0" indent="0">
              <a:buNone/>
            </a:pPr>
            <a:r>
              <a:rPr lang="en-US" dirty="0"/>
              <a:t>Best Practice Recommendations (documented in ):</a:t>
            </a:r>
          </a:p>
          <a:p>
            <a:endParaRPr lang="en-US" dirty="0"/>
          </a:p>
        </p:txBody>
      </p:sp>
      <p:graphicFrame>
        <p:nvGraphicFramePr>
          <p:cNvPr id="5" name="Table 4">
            <a:extLst>
              <a:ext uri="{FF2B5EF4-FFF2-40B4-BE49-F238E27FC236}">
                <a16:creationId xmlns:a16="http://schemas.microsoft.com/office/drawing/2014/main" id="{70E11A3F-EE1D-4E6C-B721-7014149AC2D7}"/>
              </a:ext>
            </a:extLst>
          </p:cNvPr>
          <p:cNvGraphicFramePr>
            <a:graphicFrameLocks noGrp="1"/>
          </p:cNvGraphicFramePr>
          <p:nvPr>
            <p:extLst>
              <p:ext uri="{D42A27DB-BD31-4B8C-83A1-F6EECF244321}">
                <p14:modId xmlns:p14="http://schemas.microsoft.com/office/powerpoint/2010/main" val="3597139066"/>
              </p:ext>
            </p:extLst>
          </p:nvPr>
        </p:nvGraphicFramePr>
        <p:xfrm>
          <a:off x="655636" y="2057400"/>
          <a:ext cx="10496154" cy="3048000"/>
        </p:xfrm>
        <a:graphic>
          <a:graphicData uri="http://schemas.openxmlformats.org/drawingml/2006/table">
            <a:tbl>
              <a:tblPr>
                <a:tableStyleId>{0660B408-B3CF-4A94-85FC-2B1E0A45F4A2}</a:tableStyleId>
              </a:tblPr>
              <a:tblGrid>
                <a:gridCol w="3498718">
                  <a:extLst>
                    <a:ext uri="{9D8B030D-6E8A-4147-A177-3AD203B41FA5}">
                      <a16:colId xmlns:a16="http://schemas.microsoft.com/office/drawing/2014/main" val="1333013843"/>
                    </a:ext>
                  </a:extLst>
                </a:gridCol>
                <a:gridCol w="3498718">
                  <a:extLst>
                    <a:ext uri="{9D8B030D-6E8A-4147-A177-3AD203B41FA5}">
                      <a16:colId xmlns:a16="http://schemas.microsoft.com/office/drawing/2014/main" val="2222095299"/>
                    </a:ext>
                  </a:extLst>
                </a:gridCol>
                <a:gridCol w="3498718">
                  <a:extLst>
                    <a:ext uri="{9D8B030D-6E8A-4147-A177-3AD203B41FA5}">
                      <a16:colId xmlns:a16="http://schemas.microsoft.com/office/drawing/2014/main" val="988481118"/>
                    </a:ext>
                  </a:extLst>
                </a:gridCol>
              </a:tblGrid>
              <a:tr h="485854">
                <a:tc>
                  <a:txBody>
                    <a:bodyPr/>
                    <a:lstStyle/>
                    <a:p>
                      <a:r>
                        <a:rPr lang="en-US">
                          <a:effectLst/>
                        </a:rPr>
                        <a:t>Server with single NUMA node</a:t>
                      </a:r>
                    </a:p>
                  </a:txBody>
                  <a:tcPr marL="38100" marR="38100" marT="38100" marB="38100" anchor="ctr"/>
                </a:tc>
                <a:tc>
                  <a:txBody>
                    <a:bodyPr/>
                    <a:lstStyle/>
                    <a:p>
                      <a:r>
                        <a:rPr lang="en-US" dirty="0">
                          <a:effectLst/>
                        </a:rPr>
                        <a:t>Less than or equal to 8 logical processors</a:t>
                      </a:r>
                    </a:p>
                  </a:txBody>
                  <a:tcPr marL="38100" marR="38100" marT="38100" marB="38100" anchor="ctr"/>
                </a:tc>
                <a:tc>
                  <a:txBody>
                    <a:bodyPr/>
                    <a:lstStyle/>
                    <a:p>
                      <a:r>
                        <a:rPr lang="en-US">
                          <a:effectLst/>
                        </a:rPr>
                        <a:t>Keep MAXDOP at or below # of logical processors</a:t>
                      </a:r>
                    </a:p>
                  </a:txBody>
                  <a:tcPr marL="38100" marR="38100" marT="38100" marB="38100" anchor="ctr"/>
                </a:tc>
                <a:extLst>
                  <a:ext uri="{0D108BD9-81ED-4DB2-BD59-A6C34878D82A}">
                    <a16:rowId xmlns:a16="http://schemas.microsoft.com/office/drawing/2014/main" val="4194195900"/>
                  </a:ext>
                </a:extLst>
              </a:tr>
              <a:tr h="272553">
                <a:tc>
                  <a:txBody>
                    <a:bodyPr/>
                    <a:lstStyle/>
                    <a:p>
                      <a:r>
                        <a:rPr lang="en-US">
                          <a:effectLst/>
                        </a:rPr>
                        <a:t>Server with single NUMA node</a:t>
                      </a:r>
                    </a:p>
                  </a:txBody>
                  <a:tcPr marL="38100" marR="38100" marT="38100" marB="38100" anchor="ctr"/>
                </a:tc>
                <a:tc>
                  <a:txBody>
                    <a:bodyPr/>
                    <a:lstStyle/>
                    <a:p>
                      <a:r>
                        <a:rPr lang="en-US">
                          <a:effectLst/>
                        </a:rPr>
                        <a:t>Greater than 8 logical processors</a:t>
                      </a:r>
                    </a:p>
                  </a:txBody>
                  <a:tcPr marL="38100" marR="38100" marT="38100" marB="38100" anchor="ctr"/>
                </a:tc>
                <a:tc>
                  <a:txBody>
                    <a:bodyPr/>
                    <a:lstStyle/>
                    <a:p>
                      <a:r>
                        <a:rPr lang="en-US">
                          <a:effectLst/>
                        </a:rPr>
                        <a:t>Keep MAXDOP at 8</a:t>
                      </a:r>
                    </a:p>
                  </a:txBody>
                  <a:tcPr marL="38100" marR="38100" marT="38100" marB="38100" anchor="ctr"/>
                </a:tc>
                <a:extLst>
                  <a:ext uri="{0D108BD9-81ED-4DB2-BD59-A6C34878D82A}">
                    <a16:rowId xmlns:a16="http://schemas.microsoft.com/office/drawing/2014/main" val="519884194"/>
                  </a:ext>
                </a:extLst>
              </a:tr>
              <a:tr h="485854">
                <a:tc>
                  <a:txBody>
                    <a:bodyPr/>
                    <a:lstStyle/>
                    <a:p>
                      <a:r>
                        <a:rPr lang="en-US" dirty="0">
                          <a:effectLst/>
                        </a:rPr>
                        <a:t>Server with multiple NUMA nodes</a:t>
                      </a:r>
                    </a:p>
                  </a:txBody>
                  <a:tcPr marL="38100" marR="38100" marT="38100" marB="38100" anchor="ctr"/>
                </a:tc>
                <a:tc>
                  <a:txBody>
                    <a:bodyPr/>
                    <a:lstStyle/>
                    <a:p>
                      <a:r>
                        <a:rPr lang="en-US" dirty="0">
                          <a:effectLst/>
                        </a:rPr>
                        <a:t>Less than or equal to 16 logical processors per NUMA node</a:t>
                      </a:r>
                    </a:p>
                  </a:txBody>
                  <a:tcPr marL="38100" marR="38100" marT="38100" marB="38100" anchor="ctr"/>
                </a:tc>
                <a:tc>
                  <a:txBody>
                    <a:bodyPr/>
                    <a:lstStyle/>
                    <a:p>
                      <a:r>
                        <a:rPr lang="en-US">
                          <a:effectLst/>
                        </a:rPr>
                        <a:t>Keep MAXDOP at or below # of logical processors per NUMA node</a:t>
                      </a:r>
                    </a:p>
                  </a:txBody>
                  <a:tcPr marL="38100" marR="38100" marT="38100" marB="38100" anchor="ctr"/>
                </a:tc>
                <a:extLst>
                  <a:ext uri="{0D108BD9-81ED-4DB2-BD59-A6C34878D82A}">
                    <a16:rowId xmlns:a16="http://schemas.microsoft.com/office/drawing/2014/main" val="3895735557"/>
                  </a:ext>
                </a:extLst>
              </a:tr>
              <a:tr h="699156">
                <a:tc>
                  <a:txBody>
                    <a:bodyPr/>
                    <a:lstStyle/>
                    <a:p>
                      <a:r>
                        <a:rPr lang="en-US">
                          <a:effectLst/>
                        </a:rPr>
                        <a:t>Server with multiple NUMA nodes</a:t>
                      </a:r>
                    </a:p>
                  </a:txBody>
                  <a:tcPr marL="38100" marR="38100" marT="38100" marB="38100" anchor="ctr"/>
                </a:tc>
                <a:tc>
                  <a:txBody>
                    <a:bodyPr/>
                    <a:lstStyle/>
                    <a:p>
                      <a:r>
                        <a:rPr lang="en-US">
                          <a:effectLst/>
                        </a:rPr>
                        <a:t>Greater than 16 logical processors per NUMA node</a:t>
                      </a:r>
                    </a:p>
                  </a:txBody>
                  <a:tcPr marL="38100" marR="38100" marT="38100" marB="38100" anchor="ctr"/>
                </a:tc>
                <a:tc>
                  <a:txBody>
                    <a:bodyPr/>
                    <a:lstStyle/>
                    <a:p>
                      <a:r>
                        <a:rPr lang="en-US" dirty="0">
                          <a:effectLst/>
                        </a:rPr>
                        <a:t>Keep MAXDOP at half the number of logical processors per NUMA node with a MAX value of 16 </a:t>
                      </a:r>
                    </a:p>
                  </a:txBody>
                  <a:tcPr marL="38100" marR="38100" marT="38100" marB="38100" anchor="ctr"/>
                </a:tc>
                <a:extLst>
                  <a:ext uri="{0D108BD9-81ED-4DB2-BD59-A6C34878D82A}">
                    <a16:rowId xmlns:a16="http://schemas.microsoft.com/office/drawing/2014/main" val="1593845484"/>
                  </a:ext>
                </a:extLst>
              </a:tr>
            </a:tbl>
          </a:graphicData>
        </a:graphic>
      </p:graphicFrame>
      <p:sp>
        <p:nvSpPr>
          <p:cNvPr id="7" name="TextBox 6">
            <a:extLst>
              <a:ext uri="{FF2B5EF4-FFF2-40B4-BE49-F238E27FC236}">
                <a16:creationId xmlns:a16="http://schemas.microsoft.com/office/drawing/2014/main" id="{79F718AE-BB25-C681-37C2-2C79DB17DE50}"/>
              </a:ext>
            </a:extLst>
          </p:cNvPr>
          <p:cNvSpPr txBox="1"/>
          <p:nvPr/>
        </p:nvSpPr>
        <p:spPr>
          <a:xfrm>
            <a:off x="7467600" y="1360224"/>
            <a:ext cx="1905000" cy="461665"/>
          </a:xfrm>
          <a:prstGeom prst="rect">
            <a:avLst/>
          </a:prstGeom>
          <a:noFill/>
        </p:spPr>
        <p:txBody>
          <a:bodyPr wrap="square">
            <a:spAutoFit/>
          </a:bodyPr>
          <a:lstStyle/>
          <a:p>
            <a:r>
              <a:rPr lang="en-US" sz="2400" dirty="0">
                <a:hlinkClick r:id="rId3"/>
              </a:rPr>
              <a:t>KB 2806535</a:t>
            </a:r>
            <a:endParaRPr lang="en-US" sz="2400" dirty="0"/>
          </a:p>
        </p:txBody>
      </p:sp>
    </p:spTree>
    <p:extLst>
      <p:ext uri="{BB962C8B-B14F-4D97-AF65-F5344CB8AC3E}">
        <p14:creationId xmlns:p14="http://schemas.microsoft.com/office/powerpoint/2010/main" val="41485477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Notable Waits</a:t>
            </a:r>
          </a:p>
        </p:txBody>
      </p:sp>
      <p:sp>
        <p:nvSpPr>
          <p:cNvPr id="2" name="Subtitle 1">
            <a:extLst>
              <a:ext uri="{FF2B5EF4-FFF2-40B4-BE49-F238E27FC236}">
                <a16:creationId xmlns:a16="http://schemas.microsoft.com/office/drawing/2014/main" id="{5A79A6D8-BA9C-4C2E-8D8C-B8163FE65119}"/>
              </a:ext>
            </a:extLst>
          </p:cNvPr>
          <p:cNvSpPr>
            <a:spLocks noGrp="1"/>
          </p:cNvSpPr>
          <p:nvPr>
            <p:ph type="subTitle" idx="1"/>
          </p:nvPr>
        </p:nvSpPr>
        <p:spPr/>
        <p:txBody>
          <a:bodyPr/>
          <a:lstStyle/>
          <a:p>
            <a:r>
              <a:rPr lang="en-US"/>
              <a:t>CPU related waits</a:t>
            </a:r>
          </a:p>
        </p:txBody>
      </p:sp>
      <p:graphicFrame>
        <p:nvGraphicFramePr>
          <p:cNvPr id="4" name="Content Placeholder 3">
            <a:extLst>
              <a:ext uri="{FF2B5EF4-FFF2-40B4-BE49-F238E27FC236}">
                <a16:creationId xmlns:a16="http://schemas.microsoft.com/office/drawing/2014/main" id="{138DBE09-7A9C-4F74-985A-D27BDC72A678}"/>
              </a:ext>
            </a:extLst>
          </p:cNvPr>
          <p:cNvGraphicFramePr>
            <a:graphicFrameLocks noGrp="1"/>
          </p:cNvGraphicFramePr>
          <p:nvPr>
            <p:ph sz="quarter" idx="13"/>
          </p:nvPr>
        </p:nvGraphicFramePr>
        <p:xfrm>
          <a:off x="655638" y="1408114"/>
          <a:ext cx="10880726" cy="499268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6152703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2.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9.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4.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55.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6.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57.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60.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61.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6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6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heme/theme1.xml><?xml version="1.0" encoding="utf-8"?>
<a:theme xmlns:a="http://schemas.openxmlformats.org/drawingml/2006/main" name="CORE TEMPLATE">
  <a:themeElements>
    <a:clrScheme name="Custom 7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2.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3.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4.xml><?xml version="1.0" encoding="utf-8"?>
<a:theme xmlns:a="http://schemas.openxmlformats.org/drawingml/2006/main" name="1_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5.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1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10.xml><?xml version="1.0" encoding="utf-8"?>
<ds:datastoreItem xmlns:ds="http://schemas.openxmlformats.org/officeDocument/2006/customXml" ds:itemID="{9EEC7FED-AC7D-45C9-8F29-C2C8A7233C3D}">
  <ds:schemaRefs>
    <ds:schemaRef ds:uri="Strauss.PersonalizationDefinition"/>
  </ds:schemaRefs>
</ds:datastoreItem>
</file>

<file path=customXml/itemProps11.xml><?xml version="1.0" encoding="utf-8"?>
<ds:datastoreItem xmlns:ds="http://schemas.openxmlformats.org/officeDocument/2006/customXml" ds:itemID="{313F195E-DA36-42B0-A8F7-06AEDCB7F214}">
  <ds:schemaRefs>
    <ds:schemaRef ds:uri="Strauss.PersonalizationDefinition"/>
  </ds:schemaRefs>
</ds:datastoreItem>
</file>

<file path=customXml/itemProps12.xml><?xml version="1.0" encoding="utf-8"?>
<ds:datastoreItem xmlns:ds="http://schemas.openxmlformats.org/officeDocument/2006/customXml" ds:itemID="{D9B5BEAF-65F6-4EA9-8716-EFB428C681EC}">
  <ds:schemaRefs>
    <ds:schemaRef ds:uri="Strauss.PersonalizationDefinition"/>
  </ds:schemaRefs>
</ds:datastoreItem>
</file>

<file path=customXml/itemProps13.xml><?xml version="1.0" encoding="utf-8"?>
<ds:datastoreItem xmlns:ds="http://schemas.openxmlformats.org/officeDocument/2006/customXml" ds:itemID="{7C42A160-080E-4178-8FDB-B5422D4D778A}">
  <ds:schemaRefs>
    <ds:schemaRef ds:uri="Strauss.PersonalizationDefinition"/>
  </ds:schemaRefs>
</ds:datastoreItem>
</file>

<file path=customXml/itemProps14.xml><?xml version="1.0" encoding="utf-8"?>
<ds:datastoreItem xmlns:ds="http://schemas.openxmlformats.org/officeDocument/2006/customXml" ds:itemID="{9CFE9A22-C3CB-45B7-B365-FE59FD6BB66B}">
  <ds:schemaRefs>
    <ds:schemaRef ds:uri="Strauss.PersonalizationDefinition"/>
  </ds:schemaRefs>
</ds:datastoreItem>
</file>

<file path=customXml/itemProps2.xml><?xml version="1.0" encoding="utf-8"?>
<ds:datastoreItem xmlns:ds="http://schemas.openxmlformats.org/officeDocument/2006/customXml" ds:itemID="{0147ED12-9396-40BA-ADD9-C7999EE0018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4.xml><?xml version="1.0" encoding="utf-8"?>
<ds:datastoreItem xmlns:ds="http://schemas.openxmlformats.org/officeDocument/2006/customXml" ds:itemID="{CD086AF5-CCD3-41C8-B98A-2B159789D38E}">
  <ds:schemaRefs>
    <ds:schemaRef ds:uri="Strauss.PersonalizationDefinition"/>
  </ds:schemaRefs>
</ds:datastoreItem>
</file>

<file path=customXml/itemProps5.xml><?xml version="1.0" encoding="utf-8"?>
<ds:datastoreItem xmlns:ds="http://schemas.openxmlformats.org/officeDocument/2006/customXml" ds:itemID="{EBCC33FC-94BB-4B1D-A4C6-D2E6A3A4B1FD}">
  <ds:schemaRefs>
    <ds:schemaRef ds:uri="Strauss.PersonalizationDefinition"/>
  </ds:schemaRefs>
</ds:datastoreItem>
</file>

<file path=customXml/itemProps6.xml><?xml version="1.0" encoding="utf-8"?>
<ds:datastoreItem xmlns:ds="http://schemas.openxmlformats.org/officeDocument/2006/customXml" ds:itemID="{AD6DA9CE-77A9-4804-9523-BB91520D5874}">
  <ds:schemaRefs>
    <ds:schemaRef ds:uri="Strauss.PersonalizationDefinition"/>
  </ds:schemaRefs>
</ds:datastoreItem>
</file>

<file path=customXml/itemProps7.xml><?xml version="1.0" encoding="utf-8"?>
<ds:datastoreItem xmlns:ds="http://schemas.openxmlformats.org/officeDocument/2006/customXml" ds:itemID="{861C86C3-8D42-4E4D-8659-F5CFD4C1251C}">
  <ds:schemaRefs>
    <ds:schemaRef ds:uri="Strauss.PersonalizationDefinition"/>
  </ds:schemaRefs>
</ds:datastoreItem>
</file>

<file path=customXml/itemProps8.xml><?xml version="1.0" encoding="utf-8"?>
<ds:datastoreItem xmlns:ds="http://schemas.openxmlformats.org/officeDocument/2006/customXml" ds:itemID="{AA3E5DFE-AAE8-463D-B3EE-D5AE2037C4EF}">
  <ds:schemaRefs>
    <ds:schemaRef ds:uri="Strauss.PersonalizationDefinition"/>
  </ds:schemaRefs>
</ds:datastoreItem>
</file>

<file path=customXml/itemProps9.xml><?xml version="1.0" encoding="utf-8"?>
<ds:datastoreItem xmlns:ds="http://schemas.openxmlformats.org/officeDocument/2006/customXml" ds:itemID="{75C05EC8-D295-4080-807A-6EA8C339A657}">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2024</TotalTime>
  <Words>10094</Words>
  <Application>Microsoft Office PowerPoint</Application>
  <PresentationFormat>Widescreen</PresentationFormat>
  <Paragraphs>756</Paragraphs>
  <Slides>47</Slides>
  <Notes>41</Notes>
  <HiddenSlides>1</HiddenSlides>
  <MMClips>0</MMClips>
  <ScaleCrop>false</ScaleCrop>
  <HeadingPairs>
    <vt:vector size="6" baseType="variant">
      <vt:variant>
        <vt:lpstr>Fonts Used</vt:lpstr>
      </vt:variant>
      <vt:variant>
        <vt:i4>14</vt:i4>
      </vt:variant>
      <vt:variant>
        <vt:lpstr>Theme</vt:lpstr>
      </vt:variant>
      <vt:variant>
        <vt:i4>4</vt:i4>
      </vt:variant>
      <vt:variant>
        <vt:lpstr>Slide Titles</vt:lpstr>
      </vt:variant>
      <vt:variant>
        <vt:i4>47</vt:i4>
      </vt:variant>
    </vt:vector>
  </HeadingPairs>
  <TitlesOfParts>
    <vt:vector size="65" baseType="lpstr">
      <vt:lpstr>&amp;quot</vt:lpstr>
      <vt:lpstr>Arial</vt:lpstr>
      <vt:lpstr>Arial Narrow</vt:lpstr>
      <vt:lpstr>Calibri</vt:lpstr>
      <vt:lpstr>Calibri Light</vt:lpstr>
      <vt:lpstr>Comic Sans MS</vt:lpstr>
      <vt:lpstr>Consolas</vt:lpstr>
      <vt:lpstr>Franklin Gothic Medium</vt:lpstr>
      <vt:lpstr>OpenSansRegular</vt:lpstr>
      <vt:lpstr>Segoe UI</vt:lpstr>
      <vt:lpstr>Segoe UI Light</vt:lpstr>
      <vt:lpstr>Segoe UI Semibold</vt:lpstr>
      <vt:lpstr>Times New Roman</vt:lpstr>
      <vt:lpstr>Wingdings</vt:lpstr>
      <vt:lpstr>CORE TEMPLATE</vt:lpstr>
      <vt:lpstr>Workshop</vt:lpstr>
      <vt:lpstr>1_Dark Blue</vt:lpstr>
      <vt:lpstr>1_Workshop</vt:lpstr>
      <vt:lpstr>SQL Server Processor and Memory Management</vt:lpstr>
      <vt:lpstr>PowerPoint Presentation</vt:lpstr>
      <vt:lpstr>Learning Units covered in this Module</vt:lpstr>
      <vt:lpstr>Lesson 1: Processor Management</vt:lpstr>
      <vt:lpstr>Objectives</vt:lpstr>
      <vt:lpstr>CPU Architecture</vt:lpstr>
      <vt:lpstr>SQL Server Configuration</vt:lpstr>
      <vt:lpstr>SQL Server Configuration</vt:lpstr>
      <vt:lpstr>Notable Waits</vt:lpstr>
      <vt:lpstr>Performance Monitor Counters</vt:lpstr>
      <vt:lpstr>Lesson 2: Non-Uniform Memory Access (NUMA)</vt:lpstr>
      <vt:lpstr>Objectives</vt:lpstr>
      <vt:lpstr>Symmetric Multi-Processing (SMP)</vt:lpstr>
      <vt:lpstr>Non-Uniform Memory Access (NUMA)</vt:lpstr>
      <vt:lpstr>NUMA (Non-Uniform Memory Access) Architecture</vt:lpstr>
      <vt:lpstr>Automatic Soft NUMA</vt:lpstr>
      <vt:lpstr>Automatic Soft NUMA (SQL Server 2016)</vt:lpstr>
      <vt:lpstr>Automatic Soft NUMA (SQL Server 2016)</vt:lpstr>
      <vt:lpstr>Demonstration</vt:lpstr>
      <vt:lpstr>Questions?</vt:lpstr>
      <vt:lpstr>Lesson 3: SQL Server Memory Management</vt:lpstr>
      <vt:lpstr>Objectives</vt:lpstr>
      <vt:lpstr>Memory Manager SQL Server 2012 and later</vt:lpstr>
      <vt:lpstr>SQL Server Memory Components</vt:lpstr>
      <vt:lpstr>Dynamic Memory Management</vt:lpstr>
      <vt:lpstr>Dynamic Memory Management</vt:lpstr>
      <vt:lpstr>Demonstration</vt:lpstr>
      <vt:lpstr>Lesson 4: Buffer Pool Management</vt:lpstr>
      <vt:lpstr>Objectives</vt:lpstr>
      <vt:lpstr>SQL Server Buffer Pool</vt:lpstr>
      <vt:lpstr>Lock Pages in Memory</vt:lpstr>
      <vt:lpstr>Shrinking the Buffer Pool</vt:lpstr>
      <vt:lpstr>Buffer Pool Extensions</vt:lpstr>
      <vt:lpstr>Buffer Pool Parallel Scans</vt:lpstr>
      <vt:lpstr>Questions?</vt:lpstr>
      <vt:lpstr>Lesson 5: Troubleshooting SQL Server Memory</vt:lpstr>
      <vt:lpstr>Objectives</vt:lpstr>
      <vt:lpstr>Tools to monitor SQL Server memory usage</vt:lpstr>
      <vt:lpstr>Performance Monitor Counters</vt:lpstr>
      <vt:lpstr>DBCC MEMORYSTATUS</vt:lpstr>
      <vt:lpstr>Memory Specific DMVs</vt:lpstr>
      <vt:lpstr>Ring Buffers with System Health data (status and OOM)</vt:lpstr>
      <vt:lpstr>SQL Error Log</vt:lpstr>
      <vt:lpstr>Monitoring SQL Server Memory</vt:lpstr>
      <vt:lpstr>Questions?</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Memory</dc:title>
  <dc:creator>boB</dc:creator>
  <cp:lastModifiedBy>John Deardurff</cp:lastModifiedBy>
  <cp:revision>34</cp:revision>
  <dcterms:created xsi:type="dcterms:W3CDTF">2020-03-03T02:25:26Z</dcterms:created>
  <dcterms:modified xsi:type="dcterms:W3CDTF">2024-01-29T19:4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bobtay@microsoft.com</vt:lpwstr>
  </property>
  <property fmtid="{D5CDD505-2E9C-101B-9397-08002B2CF9AE}" pid="5" name="MSIP_Label_f42aa342-8706-4288-bd11-ebb85995028c_SetDate">
    <vt:lpwstr>2020-03-03T02:27:08.232503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9a094f5c-e784-4c9f-b2a4-e65340145a44</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